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2" r:id="rId2"/>
    <p:sldMasterId id="2147483674" r:id="rId3"/>
  </p:sldMasterIdLst>
  <p:notesMasterIdLst>
    <p:notesMasterId r:id="rId39"/>
  </p:notesMasterIdLst>
  <p:sldIdLst>
    <p:sldId id="269" r:id="rId4"/>
    <p:sldId id="386" r:id="rId5"/>
    <p:sldId id="368" r:id="rId6"/>
    <p:sldId id="376" r:id="rId7"/>
    <p:sldId id="323" r:id="rId8"/>
    <p:sldId id="324" r:id="rId9"/>
    <p:sldId id="377" r:id="rId10"/>
    <p:sldId id="378" r:id="rId11"/>
    <p:sldId id="383" r:id="rId12"/>
    <p:sldId id="317" r:id="rId13"/>
    <p:sldId id="373" r:id="rId14"/>
    <p:sldId id="350" r:id="rId15"/>
    <p:sldId id="351" r:id="rId16"/>
    <p:sldId id="352" r:id="rId17"/>
    <p:sldId id="353" r:id="rId18"/>
    <p:sldId id="354" r:id="rId19"/>
    <p:sldId id="302" r:id="rId20"/>
    <p:sldId id="340" r:id="rId21"/>
    <p:sldId id="313" r:id="rId22"/>
    <p:sldId id="360" r:id="rId23"/>
    <p:sldId id="359" r:id="rId24"/>
    <p:sldId id="314" r:id="rId25"/>
    <p:sldId id="316" r:id="rId26"/>
    <p:sldId id="349" r:id="rId27"/>
    <p:sldId id="338" r:id="rId28"/>
    <p:sldId id="337" r:id="rId29"/>
    <p:sldId id="357" r:id="rId30"/>
    <p:sldId id="358" r:id="rId31"/>
    <p:sldId id="365" r:id="rId32"/>
    <p:sldId id="375" r:id="rId33"/>
    <p:sldId id="384" r:id="rId34"/>
    <p:sldId id="379" r:id="rId35"/>
    <p:sldId id="382" r:id="rId36"/>
    <p:sldId id="380" r:id="rId37"/>
    <p:sldId id="381" r:id="rId3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FF"/>
    <a:srgbClr val="00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452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E89BF55-D122-443C-B2BE-8030FF7A46C8}" type="doc">
      <dgm:prSet loTypeId="urn:microsoft.com/office/officeart/2005/8/layout/vList2" loCatId="list" qsTypeId="urn:microsoft.com/office/officeart/2005/8/quickstyle/simple5" qsCatId="simple" csTypeId="urn:microsoft.com/office/officeart/2005/8/colors/colorful2" csCatId="colorful" phldr="1"/>
      <dgm:spPr/>
      <dgm:t>
        <a:bodyPr/>
        <a:lstStyle/>
        <a:p>
          <a:endParaRPr lang="es-MX"/>
        </a:p>
      </dgm:t>
    </dgm:pt>
    <dgm:pt modelId="{E994BB2C-EA55-4EE7-ABEA-E478FF4B8726}">
      <dgm:prSet phldrT="[Text]" custT="1"/>
      <dgm:spPr/>
      <dgm:t>
        <a:bodyPr/>
        <a:lstStyle/>
        <a:p>
          <a:pPr algn="ctr"/>
          <a:r>
            <a:rPr lang="es-MX" sz="3200" dirty="0" smtClean="0"/>
            <a:t>Diplomados, cursos y seminarios (con costo)</a:t>
          </a:r>
          <a:endParaRPr lang="es-MX" sz="3200" dirty="0"/>
        </a:p>
      </dgm:t>
    </dgm:pt>
    <dgm:pt modelId="{07C4412C-0CE0-4099-8AC3-62A3EC16964B}" type="parTrans" cxnId="{1CF06121-86BE-43FB-9201-7BF5E22C8D93}">
      <dgm:prSet/>
      <dgm:spPr/>
      <dgm:t>
        <a:bodyPr/>
        <a:lstStyle/>
        <a:p>
          <a:pPr algn="ctr"/>
          <a:endParaRPr lang="es-MX" sz="1400"/>
        </a:p>
      </dgm:t>
    </dgm:pt>
    <dgm:pt modelId="{327F5967-1F9F-417E-9717-4D0C87398F8C}" type="sibTrans" cxnId="{1CF06121-86BE-43FB-9201-7BF5E22C8D93}">
      <dgm:prSet/>
      <dgm:spPr/>
      <dgm:t>
        <a:bodyPr/>
        <a:lstStyle/>
        <a:p>
          <a:pPr algn="ctr"/>
          <a:endParaRPr lang="es-MX" sz="1400"/>
        </a:p>
      </dgm:t>
    </dgm:pt>
    <dgm:pt modelId="{DC4DDA51-501B-4890-93D3-077794E4F5C5}">
      <dgm:prSet phldrT="[Text]" custT="1"/>
      <dgm:spPr/>
      <dgm:t>
        <a:bodyPr/>
        <a:lstStyle/>
        <a:p>
          <a:pPr algn="ctr"/>
          <a:r>
            <a:rPr lang="es-MX" sz="3200" dirty="0" smtClean="0"/>
            <a:t>Cursos y Objetos de aprendizaje (sin costo)</a:t>
          </a:r>
          <a:endParaRPr lang="es-MX" sz="3200" dirty="0"/>
        </a:p>
      </dgm:t>
    </dgm:pt>
    <dgm:pt modelId="{CDA060B9-398D-4320-8E92-BE28BAEFB5B6}" type="parTrans" cxnId="{DB39823A-C033-4D2B-93CB-6103492107D3}">
      <dgm:prSet/>
      <dgm:spPr/>
      <dgm:t>
        <a:bodyPr/>
        <a:lstStyle/>
        <a:p>
          <a:pPr algn="ctr"/>
          <a:endParaRPr lang="es-MX" sz="1400"/>
        </a:p>
      </dgm:t>
    </dgm:pt>
    <dgm:pt modelId="{65F5C1E5-22B9-47D0-9259-1109ED8AD5CD}" type="sibTrans" cxnId="{DB39823A-C033-4D2B-93CB-6103492107D3}">
      <dgm:prSet/>
      <dgm:spPr/>
      <dgm:t>
        <a:bodyPr/>
        <a:lstStyle/>
        <a:p>
          <a:pPr algn="ctr"/>
          <a:endParaRPr lang="es-MX" sz="1400"/>
        </a:p>
      </dgm:t>
    </dgm:pt>
    <dgm:pt modelId="{4094955D-6D04-49B5-A4E5-3EC0011D962B}">
      <dgm:prSet phldrT="[Text]" custT="1"/>
      <dgm:spPr/>
      <dgm:t>
        <a:bodyPr/>
        <a:lstStyle/>
        <a:p>
          <a:pPr algn="ctr"/>
          <a:r>
            <a:rPr lang="es-MX" sz="3200" dirty="0" smtClean="0"/>
            <a:t>Comunidades de aprendizaje </a:t>
          </a:r>
        </a:p>
        <a:p>
          <a:pPr algn="ctr"/>
          <a:r>
            <a:rPr lang="es-MX" sz="3200" dirty="0" smtClean="0"/>
            <a:t>(sin costo)</a:t>
          </a:r>
          <a:endParaRPr lang="es-MX" sz="3200" dirty="0"/>
        </a:p>
      </dgm:t>
    </dgm:pt>
    <dgm:pt modelId="{C39E100A-B83B-409C-AB36-0C6F9C587E18}" type="sibTrans" cxnId="{640FC964-CBB6-4B92-8BDE-F5ECB55D7606}">
      <dgm:prSet/>
      <dgm:spPr/>
      <dgm:t>
        <a:bodyPr/>
        <a:lstStyle/>
        <a:p>
          <a:pPr algn="ctr"/>
          <a:endParaRPr lang="es-MX" sz="1400"/>
        </a:p>
      </dgm:t>
    </dgm:pt>
    <dgm:pt modelId="{091ADF69-2F30-43B5-8B63-3BB56BEE2A6E}" type="parTrans" cxnId="{640FC964-CBB6-4B92-8BDE-F5ECB55D7606}">
      <dgm:prSet/>
      <dgm:spPr/>
      <dgm:t>
        <a:bodyPr/>
        <a:lstStyle/>
        <a:p>
          <a:pPr algn="ctr"/>
          <a:endParaRPr lang="es-MX" sz="1400"/>
        </a:p>
      </dgm:t>
    </dgm:pt>
    <dgm:pt modelId="{8A5C4CB4-A914-48AA-8983-64556C5BD3A7}" type="pres">
      <dgm:prSet presAssocID="{0E89BF55-D122-443C-B2BE-8030FF7A46C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MX"/>
        </a:p>
      </dgm:t>
    </dgm:pt>
    <dgm:pt modelId="{163F4875-A557-4A4F-B5CD-5AA9781207C2}" type="pres">
      <dgm:prSet presAssocID="{E994BB2C-EA55-4EE7-ABEA-E478FF4B8726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016E2691-535E-4B61-A365-C4E3682A8232}" type="pres">
      <dgm:prSet presAssocID="{327F5967-1F9F-417E-9717-4D0C87398F8C}" presName="spacer" presStyleCnt="0"/>
      <dgm:spPr/>
      <dgm:t>
        <a:bodyPr/>
        <a:lstStyle/>
        <a:p>
          <a:endParaRPr lang="es-MX"/>
        </a:p>
      </dgm:t>
    </dgm:pt>
    <dgm:pt modelId="{F27456BD-3229-43DF-8086-39CC32582796}" type="pres">
      <dgm:prSet presAssocID="{DC4DDA51-501B-4890-93D3-077794E4F5C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8E2D0356-1036-4F43-8953-97A79A7CF743}" type="pres">
      <dgm:prSet presAssocID="{65F5C1E5-22B9-47D0-9259-1109ED8AD5CD}" presName="spacer" presStyleCnt="0"/>
      <dgm:spPr/>
      <dgm:t>
        <a:bodyPr/>
        <a:lstStyle/>
        <a:p>
          <a:endParaRPr lang="es-MX"/>
        </a:p>
      </dgm:t>
    </dgm:pt>
    <dgm:pt modelId="{98FB74C3-ABC9-49E3-A6F5-AAEEF310A398}" type="pres">
      <dgm:prSet presAssocID="{4094955D-6D04-49B5-A4E5-3EC0011D962B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CD45C6BB-BCFD-47E7-8080-8F58428E4454}" type="presOf" srcId="{0E89BF55-D122-443C-B2BE-8030FF7A46C8}" destId="{8A5C4CB4-A914-48AA-8983-64556C5BD3A7}" srcOrd="0" destOrd="0" presId="urn:microsoft.com/office/officeart/2005/8/layout/vList2"/>
    <dgm:cxn modelId="{2F42F667-6872-47B8-A7A0-58BA825647E7}" type="presOf" srcId="{DC4DDA51-501B-4890-93D3-077794E4F5C5}" destId="{F27456BD-3229-43DF-8086-39CC32582796}" srcOrd="0" destOrd="0" presId="urn:microsoft.com/office/officeart/2005/8/layout/vList2"/>
    <dgm:cxn modelId="{F3EDCD74-79E7-4390-9BF1-0E0D31158DFE}" type="presOf" srcId="{E994BB2C-EA55-4EE7-ABEA-E478FF4B8726}" destId="{163F4875-A557-4A4F-B5CD-5AA9781207C2}" srcOrd="0" destOrd="0" presId="urn:microsoft.com/office/officeart/2005/8/layout/vList2"/>
    <dgm:cxn modelId="{1CF06121-86BE-43FB-9201-7BF5E22C8D93}" srcId="{0E89BF55-D122-443C-B2BE-8030FF7A46C8}" destId="{E994BB2C-EA55-4EE7-ABEA-E478FF4B8726}" srcOrd="0" destOrd="0" parTransId="{07C4412C-0CE0-4099-8AC3-62A3EC16964B}" sibTransId="{327F5967-1F9F-417E-9717-4D0C87398F8C}"/>
    <dgm:cxn modelId="{640FC964-CBB6-4B92-8BDE-F5ECB55D7606}" srcId="{0E89BF55-D122-443C-B2BE-8030FF7A46C8}" destId="{4094955D-6D04-49B5-A4E5-3EC0011D962B}" srcOrd="2" destOrd="0" parTransId="{091ADF69-2F30-43B5-8B63-3BB56BEE2A6E}" sibTransId="{C39E100A-B83B-409C-AB36-0C6F9C587E18}"/>
    <dgm:cxn modelId="{DB39823A-C033-4D2B-93CB-6103492107D3}" srcId="{0E89BF55-D122-443C-B2BE-8030FF7A46C8}" destId="{DC4DDA51-501B-4890-93D3-077794E4F5C5}" srcOrd="1" destOrd="0" parTransId="{CDA060B9-398D-4320-8E92-BE28BAEFB5B6}" sibTransId="{65F5C1E5-22B9-47D0-9259-1109ED8AD5CD}"/>
    <dgm:cxn modelId="{2DCD6C13-03D9-4D35-96B1-C2B4071CC900}" type="presOf" srcId="{4094955D-6D04-49B5-A4E5-3EC0011D962B}" destId="{98FB74C3-ABC9-49E3-A6F5-AAEEF310A398}" srcOrd="0" destOrd="0" presId="urn:microsoft.com/office/officeart/2005/8/layout/vList2"/>
    <dgm:cxn modelId="{EA8921A9-07D0-4C20-A17F-70064A03533D}" type="presParOf" srcId="{8A5C4CB4-A914-48AA-8983-64556C5BD3A7}" destId="{163F4875-A557-4A4F-B5CD-5AA9781207C2}" srcOrd="0" destOrd="0" presId="urn:microsoft.com/office/officeart/2005/8/layout/vList2"/>
    <dgm:cxn modelId="{D451A818-67F0-49CA-B75E-EB9880999DC7}" type="presParOf" srcId="{8A5C4CB4-A914-48AA-8983-64556C5BD3A7}" destId="{016E2691-535E-4B61-A365-C4E3682A8232}" srcOrd="1" destOrd="0" presId="urn:microsoft.com/office/officeart/2005/8/layout/vList2"/>
    <dgm:cxn modelId="{FA558FA8-1F47-4808-B46F-E3107D6627E7}" type="presParOf" srcId="{8A5C4CB4-A914-48AA-8983-64556C5BD3A7}" destId="{F27456BD-3229-43DF-8086-39CC32582796}" srcOrd="2" destOrd="0" presId="urn:microsoft.com/office/officeart/2005/8/layout/vList2"/>
    <dgm:cxn modelId="{A52DF61F-3E7E-4EA6-AC8F-AF2A902928E2}" type="presParOf" srcId="{8A5C4CB4-A914-48AA-8983-64556C5BD3A7}" destId="{8E2D0356-1036-4F43-8953-97A79A7CF743}" srcOrd="3" destOrd="0" presId="urn:microsoft.com/office/officeart/2005/8/layout/vList2"/>
    <dgm:cxn modelId="{22713113-750E-47E0-812C-F32DE62E5C6E}" type="presParOf" srcId="{8A5C4CB4-A914-48AA-8983-64556C5BD3A7}" destId="{98FB74C3-ABC9-49E3-A6F5-AAEEF310A398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3F4875-A557-4A4F-B5CD-5AA9781207C2}">
      <dsp:nvSpPr>
        <dsp:cNvPr id="0" name=""/>
        <dsp:cNvSpPr/>
      </dsp:nvSpPr>
      <dsp:spPr>
        <a:xfrm>
          <a:off x="0" y="1090"/>
          <a:ext cx="6096000" cy="1244164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2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2">
              <a:hueOff val="0"/>
              <a:satOff val="0"/>
              <a:lumOff val="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3200" kern="1200" dirty="0" smtClean="0"/>
            <a:t>Diplomados, cursos y seminarios (con costo)</a:t>
          </a:r>
          <a:endParaRPr lang="es-MX" sz="3200" kern="1200" dirty="0"/>
        </a:p>
      </dsp:txBody>
      <dsp:txXfrm>
        <a:off x="60735" y="61825"/>
        <a:ext cx="5974530" cy="1122694"/>
      </dsp:txXfrm>
    </dsp:sp>
    <dsp:sp modelId="{F27456BD-3229-43DF-8086-39CC32582796}">
      <dsp:nvSpPr>
        <dsp:cNvPr id="0" name=""/>
        <dsp:cNvSpPr/>
      </dsp:nvSpPr>
      <dsp:spPr>
        <a:xfrm>
          <a:off x="0" y="1257517"/>
          <a:ext cx="6096000" cy="1244164"/>
        </a:xfrm>
        <a:prstGeom prst="roundRect">
          <a:avLst/>
        </a:prstGeom>
        <a:gradFill rotWithShape="0">
          <a:gsLst>
            <a:gs pos="0">
              <a:schemeClr val="accent2">
                <a:hueOff val="-5049733"/>
                <a:satOff val="8330"/>
                <a:lumOff val="6470"/>
                <a:alphaOff val="0"/>
                <a:shade val="15000"/>
                <a:satMod val="180000"/>
              </a:schemeClr>
            </a:gs>
            <a:gs pos="50000">
              <a:schemeClr val="accent2">
                <a:hueOff val="-5049733"/>
                <a:satOff val="8330"/>
                <a:lumOff val="6470"/>
                <a:alphaOff val="0"/>
                <a:shade val="45000"/>
                <a:satMod val="170000"/>
              </a:schemeClr>
            </a:gs>
            <a:gs pos="70000">
              <a:schemeClr val="accent2">
                <a:hueOff val="-5049733"/>
                <a:satOff val="8330"/>
                <a:lumOff val="647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2">
                <a:hueOff val="-5049733"/>
                <a:satOff val="8330"/>
                <a:lumOff val="647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2">
              <a:hueOff val="-5049733"/>
              <a:satOff val="8330"/>
              <a:lumOff val="647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3200" kern="1200" dirty="0" smtClean="0"/>
            <a:t>Cursos y Objetos de aprendizaje (sin costo)</a:t>
          </a:r>
          <a:endParaRPr lang="es-MX" sz="3200" kern="1200" dirty="0"/>
        </a:p>
      </dsp:txBody>
      <dsp:txXfrm>
        <a:off x="60735" y="1318252"/>
        <a:ext cx="5974530" cy="1122694"/>
      </dsp:txXfrm>
    </dsp:sp>
    <dsp:sp modelId="{98FB74C3-ABC9-49E3-A6F5-AAEEF310A398}">
      <dsp:nvSpPr>
        <dsp:cNvPr id="0" name=""/>
        <dsp:cNvSpPr/>
      </dsp:nvSpPr>
      <dsp:spPr>
        <a:xfrm>
          <a:off x="0" y="2513944"/>
          <a:ext cx="6096000" cy="1244164"/>
        </a:xfrm>
        <a:prstGeom prst="roundRect">
          <a:avLst/>
        </a:prstGeom>
        <a:gradFill rotWithShape="0">
          <a:gsLst>
            <a:gs pos="0">
              <a:schemeClr val="accent2">
                <a:hueOff val="-10099466"/>
                <a:satOff val="16660"/>
                <a:lumOff val="12941"/>
                <a:alphaOff val="0"/>
                <a:shade val="15000"/>
                <a:satMod val="180000"/>
              </a:schemeClr>
            </a:gs>
            <a:gs pos="50000">
              <a:schemeClr val="accent2">
                <a:hueOff val="-10099466"/>
                <a:satOff val="16660"/>
                <a:lumOff val="12941"/>
                <a:alphaOff val="0"/>
                <a:shade val="45000"/>
                <a:satMod val="170000"/>
              </a:schemeClr>
            </a:gs>
            <a:gs pos="70000">
              <a:schemeClr val="accent2">
                <a:hueOff val="-10099466"/>
                <a:satOff val="16660"/>
                <a:lumOff val="12941"/>
                <a:alphaOff val="0"/>
                <a:tint val="99000"/>
                <a:shade val="65000"/>
                <a:satMod val="155000"/>
              </a:schemeClr>
            </a:gs>
            <a:gs pos="100000">
              <a:schemeClr val="accent2">
                <a:hueOff val="-10099466"/>
                <a:satOff val="16660"/>
                <a:lumOff val="12941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2">
              <a:hueOff val="-10099466"/>
              <a:satOff val="16660"/>
              <a:lumOff val="12941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3200" kern="1200" dirty="0" smtClean="0"/>
            <a:t>Comunidades de aprendizaje </a:t>
          </a:r>
        </a:p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3200" kern="1200" dirty="0" smtClean="0"/>
            <a:t>(sin costo)</a:t>
          </a:r>
          <a:endParaRPr lang="es-MX" sz="3200" kern="1200" dirty="0"/>
        </a:p>
      </dsp:txBody>
      <dsp:txXfrm>
        <a:off x="60735" y="2574679"/>
        <a:ext cx="5974530" cy="11226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E4DDBE-3F67-45C5-902C-EC583528543D}" type="datetimeFigureOut">
              <a:rPr lang="en-US" smtClean="0"/>
              <a:t>2/8/20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9789F4-029E-4103-B002-2FFDD480A58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0042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u="sng" dirty="0" smtClean="0"/>
              <a:t>http://apps05.ruv.itesm.mx/portal/saba/acceso/ps/index.html</a:t>
            </a:r>
            <a:endParaRPr lang="es-MX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9789F4-029E-4103-B002-2FFDD480A588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62711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6B6301-F946-4EA7-8C85-7A524B5A8A84}" type="slidenum">
              <a:rPr lang="es-MX" smtClean="0"/>
              <a:t>28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7856154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0250" y="1905000"/>
            <a:ext cx="7681913" cy="1523495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0249" y="4344988"/>
            <a:ext cx="7681913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858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ACBA2-1E2A-4E25-98C0-83EDC1667BFB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411553"/>
            <a:ext cx="83820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411553"/>
            <a:ext cx="83820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0" y="6238875"/>
            <a:ext cx="9144001" cy="619125"/>
          </a:xfr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>
                <a:solidFill>
                  <a:srgbClr val="000000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69219" y="649805"/>
            <a:ext cx="7043208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8955" y="4344988"/>
            <a:ext cx="7043208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22049" y="2355850"/>
            <a:ext cx="7690114" cy="1384994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000" b="1" i="1" u="none" strike="noStrike" kern="1200" cap="none" spc="-642" normalizeH="0" baseline="0" noProof="0" dirty="0" smtClean="0">
                <a:ln w="11430"/>
                <a:gradFill>
                  <a:gsLst>
                    <a:gs pos="0">
                      <a:srgbClr val="FF9929">
                        <a:lumMod val="20000"/>
                        <a:lumOff val="80000"/>
                      </a:srgbClr>
                    </a:gs>
                    <a:gs pos="28000">
                      <a:srgbClr val="F8F57B"/>
                    </a:gs>
                    <a:gs pos="62000">
                      <a:srgbClr val="D5B953"/>
                    </a:gs>
                    <a:gs pos="88000">
                      <a:srgbClr val="D1943B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…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22313" y="1905000"/>
            <a:ext cx="8040688" cy="193899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69219" y="649805"/>
            <a:ext cx="7043208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8955" y="4344988"/>
            <a:ext cx="7043208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22049" y="2355850"/>
            <a:ext cx="7690114" cy="1384994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000" b="1" i="1" u="none" strike="noStrike" kern="1200" cap="none" spc="-642" normalizeH="0" baseline="0" noProof="0" dirty="0" smtClean="0">
                <a:ln w="11430"/>
                <a:gradFill>
                  <a:gsLst>
                    <a:gs pos="0">
                      <a:srgbClr val="FF9929">
                        <a:lumMod val="20000"/>
                        <a:lumOff val="80000"/>
                      </a:srgbClr>
                    </a:gs>
                    <a:gs pos="28000">
                      <a:srgbClr val="F8F57B"/>
                    </a:gs>
                    <a:gs pos="62000">
                      <a:srgbClr val="D5B953"/>
                    </a:gs>
                    <a:gs pos="88000">
                      <a:srgbClr val="D1943B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…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858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ACBA2-1E2A-4E25-98C0-83EDC1667BFB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1411552"/>
            <a:ext cx="8382000" cy="221086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858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ACBA2-1E2A-4E25-98C0-83EDC1667BFB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412875"/>
            <a:ext cx="8382000" cy="221086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858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ACBA2-1E2A-4E25-98C0-83EDC1667BFB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411553"/>
            <a:ext cx="4114800" cy="2129814"/>
          </a:xfrm>
        </p:spPr>
        <p:txBody>
          <a:bodyPr/>
          <a:lstStyle>
            <a:lvl1pPr marL="339976" indent="-339976">
              <a:lnSpc>
                <a:spcPct val="90000"/>
              </a:lnSpc>
              <a:defRPr sz="2800"/>
            </a:lvl1pPr>
            <a:lvl2pPr marL="673338" indent="-325424">
              <a:lnSpc>
                <a:spcPct val="90000"/>
              </a:lnSpc>
              <a:defRPr sz="2400"/>
            </a:lvl2pPr>
            <a:lvl3pPr marL="953785" indent="-288384">
              <a:lnSpc>
                <a:spcPct val="90000"/>
              </a:lnSpc>
              <a:defRPr sz="2000"/>
            </a:lvl3pPr>
            <a:lvl4pPr marL="1227618" indent="-273833">
              <a:lnSpc>
                <a:spcPct val="90000"/>
              </a:lnSpc>
              <a:defRPr sz="1800"/>
            </a:lvl4pPr>
            <a:lvl5pPr marL="1516002" indent="-280447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11553"/>
            <a:ext cx="4114800" cy="2129814"/>
          </a:xfrm>
        </p:spPr>
        <p:txBody>
          <a:bodyPr/>
          <a:lstStyle>
            <a:lvl1pPr marL="347914" indent="-347914">
              <a:lnSpc>
                <a:spcPct val="90000"/>
              </a:lnSpc>
              <a:defRPr sz="2800"/>
            </a:lvl1pPr>
            <a:lvl2pPr marL="673338" indent="-339976">
              <a:lnSpc>
                <a:spcPct val="90000"/>
              </a:lnSpc>
              <a:defRPr sz="2400"/>
            </a:lvl2pPr>
            <a:lvl3pPr marL="961722" indent="-302936">
              <a:lnSpc>
                <a:spcPct val="90000"/>
              </a:lnSpc>
              <a:defRPr sz="2000"/>
            </a:lvl3pPr>
            <a:lvl4pPr marL="1227618" indent="-265896">
              <a:lnSpc>
                <a:spcPct val="90000"/>
              </a:lnSpc>
              <a:defRPr sz="1800"/>
            </a:lvl4pPr>
            <a:lvl5pPr marL="1516002" indent="-273833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858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ACBA2-1E2A-4E25-98C0-83EDC1667BFB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1553"/>
            <a:ext cx="4114800" cy="692498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0999" y="2174875"/>
            <a:ext cx="4114800" cy="1537344"/>
          </a:xfrm>
        </p:spPr>
        <p:txBody>
          <a:bodyPr/>
          <a:lstStyle>
            <a:lvl1pPr marL="281770" indent="-281770">
              <a:defRPr sz="2300"/>
            </a:lvl1pPr>
            <a:lvl2pPr marL="562218" indent="-265896">
              <a:defRPr sz="2000"/>
            </a:lvl2pPr>
            <a:lvl3pPr marL="813562" indent="-243407">
              <a:defRPr sz="1800"/>
            </a:lvl3pPr>
            <a:lvl4pPr marL="1050354" indent="-228856">
              <a:defRPr sz="1700"/>
            </a:lvl4pPr>
            <a:lvl5pPr marL="1279210" indent="-20636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981" y="1411553"/>
            <a:ext cx="4117019" cy="692498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117974" cy="1537344"/>
          </a:xfrm>
        </p:spPr>
        <p:txBody>
          <a:bodyPr/>
          <a:lstStyle>
            <a:lvl1pPr marL="296321" indent="-296321">
              <a:defRPr sz="2300"/>
            </a:lvl1pPr>
            <a:lvl2pPr marL="570155" indent="-273833">
              <a:defRPr sz="2000"/>
            </a:lvl2pPr>
            <a:lvl3pPr marL="821499" indent="-244730">
              <a:defRPr sz="1800"/>
            </a:lvl3pPr>
            <a:lvl4pPr marL="1050354" indent="-236793">
              <a:defRPr sz="1700"/>
            </a:lvl4pPr>
            <a:lvl5pPr marL="1279210" indent="-220919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858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ACBA2-1E2A-4E25-98C0-83EDC1667BFB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858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ACBA2-1E2A-4E25-98C0-83EDC1667BFB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858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ACBA2-1E2A-4E25-98C0-83EDC1667BFB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 - Prints in GRAYS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858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ACBA2-1E2A-4E25-98C0-83EDC1667BFB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8382000" cy="213596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8580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ACBA2-1E2A-4E25-98C0-83EDC1667BFB}" type="slidenum">
              <a:rPr lang="es-MX" smtClean="0"/>
              <a:t>‹#›</a:t>
            </a:fld>
            <a:endParaRPr lang="es-MX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61" r:id="rId12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50" dirty="0" smtClean="0">
          <a:ln w="3175">
            <a:noFill/>
          </a:ln>
          <a:gradFill flip="none" rotWithShape="1">
            <a:gsLst>
              <a:gs pos="0">
                <a:srgbClr val="FFFFB9"/>
              </a:gs>
              <a:gs pos="36000">
                <a:srgbClr val="FFFF99"/>
              </a:gs>
              <a:gs pos="86000">
                <a:srgbClr val="F6AE1E"/>
              </a:gs>
            </a:gsLst>
            <a:lin ang="5400000" scaled="0"/>
            <a:tileRect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+mj-lt"/>
          <a:ea typeface="+mn-ea"/>
          <a:cs typeface="Arial" charset="0"/>
        </a:defRPr>
      </a:lvl1pPr>
    </p:titleStyle>
    <p:bodyStyle>
      <a:lvl1pPr marL="396875" indent="-396875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5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396875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6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258888" indent="-344488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6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4963" indent="-346075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6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941513" indent="-336550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6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white rectangle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453"/>
          <a:stretch>
            <a:fillRect/>
          </a:stretch>
        </p:blipFill>
        <p:spPr>
          <a:xfrm>
            <a:off x="0" y="1299706"/>
            <a:ext cx="9144000" cy="555829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2" y="1905000"/>
            <a:ext cx="8040688" cy="21082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25" dirty="0" smtClean="0">
          <a:ln w="3175">
            <a:noFill/>
          </a:ln>
          <a:gradFill flip="none" rotWithShape="1">
            <a:gsLst>
              <a:gs pos="0">
                <a:srgbClr val="FFFFB9"/>
              </a:gs>
              <a:gs pos="36000">
                <a:srgbClr val="FFFF99"/>
              </a:gs>
              <a:gs pos="86000">
                <a:srgbClr val="F6AE1E"/>
              </a:gs>
            </a:gsLst>
            <a:lin ang="5400000" scaled="0"/>
            <a:tileRect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+mj-lt"/>
          <a:ea typeface="+mn-ea"/>
          <a:cs typeface="Arial" charset="0"/>
        </a:defRPr>
      </a:lvl1pPr>
    </p:titleStyle>
    <p:bodyStyle>
      <a:lvl1pPr marL="0" indent="0" algn="l" defTabSz="914363" rtl="0" eaLnBrk="1" latinLnBrk="0" hangingPunct="1">
        <a:lnSpc>
          <a:spcPct val="90000"/>
        </a:lnSpc>
        <a:spcBef>
          <a:spcPct val="20000"/>
        </a:spcBef>
        <a:buFont typeface="Arial" pitchFamily="34" charset="0"/>
        <a:buNone/>
        <a:defRPr sz="3000" b="1" kern="1200">
          <a:solidFill>
            <a:schemeClr val="tx1"/>
          </a:solidFill>
          <a:latin typeface="Courier New" pitchFamily="49" charset="0"/>
          <a:ea typeface="+mn-ea"/>
          <a:cs typeface="Courier New" pitchFamily="49" charset="0"/>
        </a:defRPr>
      </a:lvl1pPr>
      <a:lvl2pPr marL="384954" indent="-7937" algn="l" defTabSz="914363" rtl="0" eaLnBrk="1" latinLnBrk="0" hangingPunct="1">
        <a:lnSpc>
          <a:spcPct val="90000"/>
        </a:lnSpc>
        <a:spcBef>
          <a:spcPct val="20000"/>
        </a:spcBef>
        <a:buFont typeface="Arial" pitchFamily="34" charset="0"/>
        <a:buNone/>
        <a:defRPr sz="2800" b="1" kern="1200">
          <a:solidFill>
            <a:schemeClr val="tx1"/>
          </a:solidFill>
          <a:latin typeface="Courier New" pitchFamily="49" charset="0"/>
          <a:ea typeface="+mn-ea"/>
          <a:cs typeface="Courier New" pitchFamily="49" charset="0"/>
        </a:defRPr>
      </a:lvl2pPr>
      <a:lvl3pPr marL="761970" indent="-7937" algn="l" defTabSz="914363" rtl="0" eaLnBrk="1" latinLnBrk="0" hangingPunct="1">
        <a:lnSpc>
          <a:spcPct val="90000"/>
        </a:lnSpc>
        <a:spcBef>
          <a:spcPct val="20000"/>
        </a:spcBef>
        <a:buFont typeface="Arial" pitchFamily="34" charset="0"/>
        <a:buNone/>
        <a:defRPr sz="2400" b="1" kern="1200">
          <a:solidFill>
            <a:schemeClr val="tx1"/>
          </a:solidFill>
          <a:latin typeface="Courier New" pitchFamily="49" charset="0"/>
          <a:ea typeface="+mn-ea"/>
          <a:cs typeface="Courier New" pitchFamily="49" charset="0"/>
        </a:defRPr>
      </a:lvl3pPr>
      <a:lvl4pPr marL="1094009" indent="7937" algn="l" defTabSz="914363" rtl="0" eaLnBrk="1" latinLnBrk="0" hangingPunct="1">
        <a:lnSpc>
          <a:spcPct val="90000"/>
        </a:lnSpc>
        <a:spcBef>
          <a:spcPct val="20000"/>
        </a:spcBef>
        <a:buFont typeface="Arial" pitchFamily="34" charset="0"/>
        <a:buNone/>
        <a:defRPr sz="2400" b="1" kern="1200">
          <a:solidFill>
            <a:schemeClr val="tx1"/>
          </a:solidFill>
          <a:latin typeface="Courier New" pitchFamily="49" charset="0"/>
          <a:ea typeface="+mn-ea"/>
          <a:cs typeface="Courier New" pitchFamily="49" charset="0"/>
        </a:defRPr>
      </a:lvl4pPr>
      <a:lvl5pPr marL="1426047" indent="0" algn="l" defTabSz="914363" rtl="0" eaLnBrk="1" latinLnBrk="0" hangingPunct="1">
        <a:lnSpc>
          <a:spcPct val="90000"/>
        </a:lnSpc>
        <a:spcBef>
          <a:spcPct val="20000"/>
        </a:spcBef>
        <a:buFont typeface="Arial" pitchFamily="34" charset="0"/>
        <a:buNone/>
        <a:defRPr sz="2400" b="1" kern="1200">
          <a:solidFill>
            <a:schemeClr val="tx1"/>
          </a:solidFill>
          <a:latin typeface="Courier New" pitchFamily="49" charset="0"/>
          <a:ea typeface="+mn-ea"/>
          <a:cs typeface="Courier New" pitchFamily="49" charset="0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0.png"/><Relationship Id="rId4" Type="http://schemas.openxmlformats.org/officeDocument/2006/relationships/hyperlink" Target="http://www.cca.org.mx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hyperlink" Target="http://www.tenaris.com/TenarisTamsa/es/default.aspx" TargetMode="External"/><Relationship Id="rId7" Type="http://schemas.openxmlformats.org/officeDocument/2006/relationships/image" Target="../media/image48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utselva.edu.mx/index.html" TargetMode="External"/><Relationship Id="rId5" Type="http://schemas.openxmlformats.org/officeDocument/2006/relationships/image" Target="../media/image47.jpeg"/><Relationship Id="rId4" Type="http://schemas.openxmlformats.org/officeDocument/2006/relationships/image" Target="../media/image46.g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hyperlink" Target="http://apoyosposgrados.conacyt.gob.mx/Paginas/Principal.aspx" TargetMode="Externa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4.png"/><Relationship Id="rId4" Type="http://schemas.openxmlformats.org/officeDocument/2006/relationships/image" Target="../media/image5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emf"/><Relationship Id="rId3" Type="http://schemas.openxmlformats.org/officeDocument/2006/relationships/image" Target="../media/image65.png"/><Relationship Id="rId7" Type="http://schemas.openxmlformats.org/officeDocument/2006/relationships/image" Target="../media/image69.emf"/><Relationship Id="rId12" Type="http://schemas.openxmlformats.org/officeDocument/2006/relationships/image" Target="../media/image74.emf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8.emf"/><Relationship Id="rId11" Type="http://schemas.openxmlformats.org/officeDocument/2006/relationships/image" Target="../media/image73.emf"/><Relationship Id="rId5" Type="http://schemas.openxmlformats.org/officeDocument/2006/relationships/image" Target="../media/image67.emf"/><Relationship Id="rId10" Type="http://schemas.openxmlformats.org/officeDocument/2006/relationships/image" Target="../media/image72.emf"/><Relationship Id="rId4" Type="http://schemas.openxmlformats.org/officeDocument/2006/relationships/image" Target="../media/image66.png"/><Relationship Id="rId9" Type="http://schemas.openxmlformats.org/officeDocument/2006/relationships/image" Target="../media/image7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emf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entroscomunitariosdeaprendizaje.org.mx/capacitacion/educacion-continua/Latinos%20en%20E.U.A." TargetMode="External"/><Relationship Id="rId13" Type="http://schemas.openxmlformats.org/officeDocument/2006/relationships/image" Target="../media/image84.png"/><Relationship Id="rId18" Type="http://schemas.openxmlformats.org/officeDocument/2006/relationships/hyperlink" Target="http://www.centroscomunitariosdeaprendizaje.org.mx/capacitacion/educacion-continua/Periodismo" TargetMode="External"/><Relationship Id="rId26" Type="http://schemas.openxmlformats.org/officeDocument/2006/relationships/hyperlink" Target="http://www.centroscomunitariosdeaprendizaje.org.mx/comunicacion/Correo%20Electr%C3%B3nico" TargetMode="External"/><Relationship Id="rId3" Type="http://schemas.openxmlformats.org/officeDocument/2006/relationships/image" Target="../media/image78.png"/><Relationship Id="rId21" Type="http://schemas.openxmlformats.org/officeDocument/2006/relationships/image" Target="../media/image88.png"/><Relationship Id="rId34" Type="http://schemas.openxmlformats.org/officeDocument/2006/relationships/image" Target="../media/image96.png"/><Relationship Id="rId7" Type="http://schemas.openxmlformats.org/officeDocument/2006/relationships/image" Target="../media/image81.png"/><Relationship Id="rId12" Type="http://schemas.openxmlformats.org/officeDocument/2006/relationships/hyperlink" Target="http://www.centroscomunitariosdeaprendizaje.org.mx/capacitacion/educacion-continua/Educaci%C3%B3n" TargetMode="External"/><Relationship Id="rId17" Type="http://schemas.openxmlformats.org/officeDocument/2006/relationships/image" Target="../media/image86.png"/><Relationship Id="rId25" Type="http://schemas.openxmlformats.org/officeDocument/2006/relationships/image" Target="../media/image90.png"/><Relationship Id="rId33" Type="http://schemas.openxmlformats.org/officeDocument/2006/relationships/image" Target="../media/image95.png"/><Relationship Id="rId38" Type="http://schemas.openxmlformats.org/officeDocument/2006/relationships/image" Target="../media/image100.png"/><Relationship Id="rId2" Type="http://schemas.openxmlformats.org/officeDocument/2006/relationships/notesSlide" Target="../notesSlides/notesSlide2.xml"/><Relationship Id="rId16" Type="http://schemas.openxmlformats.org/officeDocument/2006/relationships/hyperlink" Target="http://www.centroscomunitariosdeaprendizaje.org.mx/capacitacion/educacion-continua/Sociedad" TargetMode="External"/><Relationship Id="rId20" Type="http://schemas.openxmlformats.org/officeDocument/2006/relationships/hyperlink" Target="http://www.centroscomunitariosdeaprendizaje.org.mx/capacitacion/educacion-continua/Responsabilidad%20Social" TargetMode="External"/><Relationship Id="rId29" Type="http://schemas.openxmlformats.org/officeDocument/2006/relationships/image" Target="../media/image92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www.centroscomunitariosdeaprendizaje.org.mx/capacitacion/educacion-continua/Tecnolog%C3%ADa%20Inform%C3%A1tica" TargetMode="External"/><Relationship Id="rId11" Type="http://schemas.openxmlformats.org/officeDocument/2006/relationships/image" Target="../media/image83.png"/><Relationship Id="rId24" Type="http://schemas.openxmlformats.org/officeDocument/2006/relationships/hyperlink" Target="http://www.centroscomunitariosdeaprendizaje.org.mx/comunicacion/Blogs" TargetMode="External"/><Relationship Id="rId32" Type="http://schemas.openxmlformats.org/officeDocument/2006/relationships/image" Target="../media/image94.png"/><Relationship Id="rId37" Type="http://schemas.openxmlformats.org/officeDocument/2006/relationships/image" Target="../media/image99.png"/><Relationship Id="rId5" Type="http://schemas.openxmlformats.org/officeDocument/2006/relationships/image" Target="../media/image80.png"/><Relationship Id="rId15" Type="http://schemas.openxmlformats.org/officeDocument/2006/relationships/image" Target="../media/image85.png"/><Relationship Id="rId23" Type="http://schemas.openxmlformats.org/officeDocument/2006/relationships/image" Target="../media/image89.png"/><Relationship Id="rId28" Type="http://schemas.openxmlformats.org/officeDocument/2006/relationships/hyperlink" Target="http://www.centroscomunitariosdeaprendizaje.org.mx/comunicacion/Mensajer%C3%ADa%20Instant%C3%A1nea" TargetMode="External"/><Relationship Id="rId36" Type="http://schemas.openxmlformats.org/officeDocument/2006/relationships/image" Target="../media/image98.png"/><Relationship Id="rId10" Type="http://schemas.openxmlformats.org/officeDocument/2006/relationships/hyperlink" Target="http://www.centroscomunitariosdeaprendizaje.org.mx/capacitacion/educacion-continua/Negocios" TargetMode="External"/><Relationship Id="rId19" Type="http://schemas.openxmlformats.org/officeDocument/2006/relationships/image" Target="../media/image87.png"/><Relationship Id="rId31" Type="http://schemas.openxmlformats.org/officeDocument/2006/relationships/image" Target="../media/image93.png"/><Relationship Id="rId4" Type="http://schemas.openxmlformats.org/officeDocument/2006/relationships/image" Target="../media/image79.png"/><Relationship Id="rId9" Type="http://schemas.openxmlformats.org/officeDocument/2006/relationships/image" Target="../media/image82.png"/><Relationship Id="rId14" Type="http://schemas.openxmlformats.org/officeDocument/2006/relationships/hyperlink" Target="http://www.centroscomunitariosdeaprendizaje.org.mx/capacitacion/educacion-continua/Cultura%20de%20la%20Salud" TargetMode="External"/><Relationship Id="rId22" Type="http://schemas.openxmlformats.org/officeDocument/2006/relationships/hyperlink" Target="http://www.centroscomunitariosdeaprendizaje.org.mx/capacitacion/educacion-continua/Administraci%C3%B3n%20P%C3%BAblica" TargetMode="External"/><Relationship Id="rId27" Type="http://schemas.openxmlformats.org/officeDocument/2006/relationships/image" Target="../media/image91.png"/><Relationship Id="rId30" Type="http://schemas.openxmlformats.org/officeDocument/2006/relationships/hyperlink" Target="http://www.centroscomunitariosdeaprendizaje.org.mx/comunicacion/Redes%20Sociales" TargetMode="External"/><Relationship Id="rId35" Type="http://schemas.openxmlformats.org/officeDocument/2006/relationships/image" Target="../media/image97.png"/></Relationships>
</file>

<file path=ppt/slides/_rels/slide29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slideLayout" Target="../slideLayouts/slideLayout4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28" Type="http://schemas.openxmlformats.org/officeDocument/2006/relationships/tags" Target="../tags/tag128.xml"/><Relationship Id="rId144" Type="http://schemas.openxmlformats.org/officeDocument/2006/relationships/tags" Target="../tags/tag144.xml"/><Relationship Id="rId149" Type="http://schemas.openxmlformats.org/officeDocument/2006/relationships/tags" Target="../tags/tag149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65" Type="http://schemas.openxmlformats.org/officeDocument/2006/relationships/tags" Target="../tags/tag165.xml"/><Relationship Id="rId181" Type="http://schemas.openxmlformats.org/officeDocument/2006/relationships/tags" Target="../tags/tag181.xml"/><Relationship Id="rId186" Type="http://schemas.openxmlformats.org/officeDocument/2006/relationships/tags" Target="../tags/tag186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134" Type="http://schemas.openxmlformats.org/officeDocument/2006/relationships/tags" Target="../tags/tag134.xml"/><Relationship Id="rId139" Type="http://schemas.openxmlformats.org/officeDocument/2006/relationships/tags" Target="../tags/tag139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55" Type="http://schemas.openxmlformats.org/officeDocument/2006/relationships/tags" Target="../tags/tag155.xml"/><Relationship Id="rId171" Type="http://schemas.openxmlformats.org/officeDocument/2006/relationships/tags" Target="../tags/tag171.xml"/><Relationship Id="rId176" Type="http://schemas.openxmlformats.org/officeDocument/2006/relationships/tags" Target="../tags/tag176.xml"/><Relationship Id="rId192" Type="http://schemas.openxmlformats.org/officeDocument/2006/relationships/tags" Target="../tags/tag192.xml"/><Relationship Id="rId197" Type="http://schemas.openxmlformats.org/officeDocument/2006/relationships/tags" Target="../tags/tag197.xml"/><Relationship Id="rId201" Type="http://schemas.openxmlformats.org/officeDocument/2006/relationships/tags" Target="../tags/tag201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24" Type="http://schemas.openxmlformats.org/officeDocument/2006/relationships/tags" Target="../tags/tag124.xml"/><Relationship Id="rId129" Type="http://schemas.openxmlformats.org/officeDocument/2006/relationships/tags" Target="../tags/tag129.xml"/><Relationship Id="rId54" Type="http://schemas.openxmlformats.org/officeDocument/2006/relationships/tags" Target="../tags/tag54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45" Type="http://schemas.openxmlformats.org/officeDocument/2006/relationships/tags" Target="../tags/tag145.xml"/><Relationship Id="rId161" Type="http://schemas.openxmlformats.org/officeDocument/2006/relationships/tags" Target="../tags/tag161.xml"/><Relationship Id="rId166" Type="http://schemas.openxmlformats.org/officeDocument/2006/relationships/tags" Target="../tags/tag166.xml"/><Relationship Id="rId182" Type="http://schemas.openxmlformats.org/officeDocument/2006/relationships/tags" Target="../tags/tag182.xml"/><Relationship Id="rId187" Type="http://schemas.openxmlformats.org/officeDocument/2006/relationships/tags" Target="../tags/tag18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44" Type="http://schemas.openxmlformats.org/officeDocument/2006/relationships/tags" Target="../tags/tag44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51" Type="http://schemas.openxmlformats.org/officeDocument/2006/relationships/tags" Target="../tags/tag151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2" Type="http://schemas.openxmlformats.org/officeDocument/2006/relationships/tags" Target="../tags/tag202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tags" Target="../tags/tag141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189" Type="http://schemas.openxmlformats.org/officeDocument/2006/relationships/tags" Target="../tags/tag189.xml"/><Relationship Id="rId3" Type="http://schemas.openxmlformats.org/officeDocument/2006/relationships/tags" Target="../tags/tag3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79" Type="http://schemas.openxmlformats.org/officeDocument/2006/relationships/tags" Target="../tags/tag179.xml"/><Relationship Id="rId195" Type="http://schemas.openxmlformats.org/officeDocument/2006/relationships/tags" Target="../tags/tag19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64" Type="http://schemas.openxmlformats.org/officeDocument/2006/relationships/tags" Target="../tags/tag164.xml"/><Relationship Id="rId169" Type="http://schemas.openxmlformats.org/officeDocument/2006/relationships/tags" Target="../tags/tag169.xml"/><Relationship Id="rId185" Type="http://schemas.openxmlformats.org/officeDocument/2006/relationships/tags" Target="../tags/tag18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6" Type="http://schemas.openxmlformats.org/officeDocument/2006/relationships/tags" Target="../tags/tag26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196" Type="http://schemas.openxmlformats.org/officeDocument/2006/relationships/tags" Target="../tags/tag196.xml"/><Relationship Id="rId200" Type="http://schemas.openxmlformats.org/officeDocument/2006/relationships/tags" Target="../tags/tag20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3.png"/><Relationship Id="rId7" Type="http://schemas.openxmlformats.org/officeDocument/2006/relationships/image" Target="../media/image16.jpeg"/><Relationship Id="rId12" Type="http://schemas.openxmlformats.org/officeDocument/2006/relationships/image" Target="../media/image21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jpeg"/><Relationship Id="rId11" Type="http://schemas.openxmlformats.org/officeDocument/2006/relationships/image" Target="../media/image20.jpeg"/><Relationship Id="rId5" Type="http://schemas.openxmlformats.org/officeDocument/2006/relationships/hyperlink" Target="http://apoyosposgrados.conacyt.gob.mx/Paginas/Principal.aspx" TargetMode="External"/><Relationship Id="rId10" Type="http://schemas.openxmlformats.org/officeDocument/2006/relationships/image" Target="../media/image19.png"/><Relationship Id="rId4" Type="http://schemas.openxmlformats.org/officeDocument/2006/relationships/image" Target="../media/image14.jpeg"/><Relationship Id="rId9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hyperlink" Target="https://lmsnet.ruv.itesm.mx/comprasenlinea/CatalogoProductos.aspx?origen=1000" TargetMode="Externa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mailto:marciavillasana@tecvirtual.mx" TargetMode="External"/><Relationship Id="rId2" Type="http://schemas.openxmlformats.org/officeDocument/2006/relationships/hyperlink" Target="mailto:kmartin@tecvirtual.mx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claudia.salinas@tecvirtual.mx" TargetMode="External"/><Relationship Id="rId5" Type="http://schemas.openxmlformats.org/officeDocument/2006/relationships/hyperlink" Target="mailto:marisa.cabrera@tecvirtual.mx" TargetMode="External"/><Relationship Id="rId4" Type="http://schemas.openxmlformats.org/officeDocument/2006/relationships/hyperlink" Target="mailto:cosette@tecvirtual.mx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7.png"/><Relationship Id="rId4" Type="http://schemas.openxmlformats.org/officeDocument/2006/relationships/hyperlink" Target="http://www.cca.org.mx/ps/saba/recursos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5523" y="3124200"/>
            <a:ext cx="4473677" cy="2286000"/>
          </a:xfrm>
        </p:spPr>
        <p:txBody>
          <a:bodyPr/>
          <a:lstStyle/>
          <a:p>
            <a:r>
              <a:rPr lang="es-MX" dirty="0" smtClean="0"/>
              <a:t>Dirección de Educación para el Desarrollo</a:t>
            </a:r>
            <a:endParaRPr lang="es-MX" dirty="0"/>
          </a:p>
        </p:txBody>
      </p:sp>
      <p:sp>
        <p:nvSpPr>
          <p:cNvPr id="7" name="TextBox 6"/>
          <p:cNvSpPr txBox="1"/>
          <p:nvPr/>
        </p:nvSpPr>
        <p:spPr>
          <a:xfrm>
            <a:off x="560439" y="5896227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400" dirty="0" smtClean="0"/>
              <a:t>2013</a:t>
            </a:r>
            <a:endParaRPr lang="es-MX" sz="2400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9003" y="533400"/>
            <a:ext cx="2667000" cy="17748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reflection blurRad="12700" stA="38000" endPos="28000" dist="5000" dir="5400000" sy="-100000" algn="bl" rotWithShape="0"/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9003" y="2667000"/>
            <a:ext cx="2628900" cy="17526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reflection blurRad="12700" stA="38000" endPos="28000" dist="5000" dir="5400000" sy="-100000" algn="bl" rotWithShape="0"/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83685" y="4808908"/>
            <a:ext cx="2674218" cy="18312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609600"/>
            <a:ext cx="5017704" cy="1615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8068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6" name="TextBox 545"/>
          <p:cNvSpPr txBox="1"/>
          <p:nvPr/>
        </p:nvSpPr>
        <p:spPr>
          <a:xfrm>
            <a:off x="3581400" y="2590800"/>
            <a:ext cx="232185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 smtClean="0"/>
              <a:t>Competencias docentes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 smtClean="0"/>
              <a:t>Competencias directivas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 smtClean="0"/>
              <a:t>Competencias PISA (lectura, matemáticas y ciencias)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 smtClean="0"/>
              <a:t>Competencias para el desarrollo de programas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 smtClean="0"/>
              <a:t>Competencias tecnológicas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 smtClean="0"/>
              <a:t>Competencias para la inclusión educativa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 smtClean="0"/>
              <a:t>Consultoría</a:t>
            </a:r>
            <a:endParaRPr lang="es-MX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278090" y="2590800"/>
            <a:ext cx="269371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 smtClean="0"/>
              <a:t>Gobierno </a:t>
            </a:r>
            <a:r>
              <a:rPr lang="es-MX" sz="1600" dirty="0"/>
              <a:t>electrónico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Transparencia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Finanzas públicas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Gestión municipal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Competencias directivas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Seguridad y prevención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Mercadotecnia política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Asociaciones Público-Privadas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Cambio climático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Democracia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647952" y="2590800"/>
            <a:ext cx="2191248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 smtClean="0"/>
              <a:t>Tecnología </a:t>
            </a:r>
            <a:r>
              <a:rPr lang="es-MX" sz="1600" dirty="0"/>
              <a:t>informática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Negocios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Administración pública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Educación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Sociedad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Periodismo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Responsabilidad social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Latinos en Estados Unidos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Cultura de la salud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477000" y="2194386"/>
            <a:ext cx="2519595" cy="411829"/>
          </a:xfrm>
          <a:prstGeom prst="rect">
            <a:avLst/>
          </a:prstGeom>
        </p:spPr>
        <p:style>
          <a:lnRef idx="0">
            <a:schemeClr val="accent1"/>
          </a:lnRef>
          <a:fillRef idx="1003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 smtClean="0">
                <a:solidFill>
                  <a:schemeClr val="bg1"/>
                </a:solidFill>
              </a:rPr>
              <a:t>Comunidad en general</a:t>
            </a:r>
            <a:endParaRPr lang="es-MX" sz="1600" b="1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54648" y="6412468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 smtClean="0">
                <a:solidFill>
                  <a:srgbClr val="FFC000"/>
                </a:solidFill>
              </a:rPr>
              <a:t>12 diplomados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28600" y="6135469"/>
            <a:ext cx="23622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 smtClean="0">
                <a:solidFill>
                  <a:srgbClr val="FFC000"/>
                </a:solidFill>
              </a:rPr>
              <a:t>4 diplomados, </a:t>
            </a:r>
          </a:p>
          <a:p>
            <a:pPr algn="ctr"/>
            <a:r>
              <a:rPr lang="es-MX" b="1" dirty="0" smtClean="0">
                <a:solidFill>
                  <a:srgbClr val="FFC000"/>
                </a:solidFill>
              </a:rPr>
              <a:t>1 seminario y 1 curso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533285" y="6135469"/>
            <a:ext cx="19642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 smtClean="0">
                <a:solidFill>
                  <a:srgbClr val="FFC000"/>
                </a:solidFill>
              </a:rPr>
              <a:t>5,850 horas de </a:t>
            </a:r>
          </a:p>
          <a:p>
            <a:pPr algn="ctr"/>
            <a:r>
              <a:rPr lang="es-MX" b="1" dirty="0" smtClean="0">
                <a:solidFill>
                  <a:srgbClr val="FFC000"/>
                </a:solidFill>
              </a:rPr>
              <a:t>educación en línea</a:t>
            </a:r>
            <a:endParaRPr lang="es-MX" b="1" dirty="0">
              <a:solidFill>
                <a:srgbClr val="FFC000"/>
              </a:solidFill>
            </a:endParaRPr>
          </a:p>
        </p:txBody>
      </p:sp>
      <p:pic>
        <p:nvPicPr>
          <p:cNvPr id="27" name="Picture 2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9318" y="1069964"/>
            <a:ext cx="1685563" cy="98427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3" name="Picture 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29736" y="1087148"/>
            <a:ext cx="1128064" cy="94990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4" name="Picture 2">
            <a:hlinkClick r:id="rId4"/>
          </p:cNvPr>
          <p:cNvPicPr>
            <a:picLocks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93330" y="1066800"/>
            <a:ext cx="1100492" cy="9906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Rectangle 35"/>
          <p:cNvSpPr/>
          <p:nvPr/>
        </p:nvSpPr>
        <p:spPr>
          <a:xfrm>
            <a:off x="3551984" y="2230694"/>
            <a:ext cx="2391616" cy="339213"/>
          </a:xfrm>
          <a:prstGeom prst="rect">
            <a:avLst/>
          </a:prstGeom>
        </p:spPr>
        <p:style>
          <a:lnRef idx="0">
            <a:schemeClr val="accent1"/>
          </a:lnRef>
          <a:fillRef idx="1003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 smtClean="0">
                <a:solidFill>
                  <a:schemeClr val="bg1"/>
                </a:solidFill>
              </a:rPr>
              <a:t>Profesores y directivos</a:t>
            </a:r>
            <a:endParaRPr lang="es-MX" sz="1600" b="1" dirty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81000" y="2230694"/>
            <a:ext cx="2362201" cy="339213"/>
          </a:xfrm>
          <a:prstGeom prst="rect">
            <a:avLst/>
          </a:prstGeom>
        </p:spPr>
        <p:style>
          <a:lnRef idx="0">
            <a:schemeClr val="accent1"/>
          </a:lnRef>
          <a:fillRef idx="1003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 smtClean="0">
                <a:solidFill>
                  <a:schemeClr val="bg1"/>
                </a:solidFill>
              </a:rPr>
              <a:t>Funcionarios públicos</a:t>
            </a:r>
            <a:endParaRPr lang="es-MX" sz="1600" b="1" dirty="0">
              <a:solidFill>
                <a:schemeClr val="bg1"/>
              </a:solidFill>
            </a:endParaRPr>
          </a:p>
        </p:txBody>
      </p:sp>
      <p:sp>
        <p:nvSpPr>
          <p:cNvPr id="41" name="Title 7"/>
          <p:cNvSpPr>
            <a:spLocks noGrp="1"/>
          </p:cNvSpPr>
          <p:nvPr>
            <p:ph type="title"/>
          </p:nvPr>
        </p:nvSpPr>
        <p:spPr>
          <a:xfrm>
            <a:off x="228600" y="228802"/>
            <a:ext cx="8382000" cy="609398"/>
          </a:xfrm>
        </p:spPr>
        <p:txBody>
          <a:bodyPr/>
          <a:lstStyle/>
          <a:p>
            <a:r>
              <a:rPr lang="es-MX" sz="4400" dirty="0" smtClean="0"/>
              <a:t>Áreas de atención:</a:t>
            </a:r>
            <a:endParaRPr lang="es-MX" sz="4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10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920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6400800" y="3124200"/>
            <a:ext cx="2822247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 smtClean="0"/>
              <a:t>Liderazgo </a:t>
            </a:r>
            <a:r>
              <a:rPr lang="es-MX" sz="1600" dirty="0"/>
              <a:t>y gerenciamiento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Procuración de fondos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Desarrollo de base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Tecnologías de la información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Ética y transparencia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Cuidado del medio ambiente</a:t>
            </a:r>
          </a:p>
          <a:p>
            <a:pPr marL="176213" indent="-176213">
              <a:buClr>
                <a:srgbClr val="92D050"/>
              </a:buClr>
              <a:buFont typeface="Wingdings" pitchFamily="2" charset="2"/>
              <a:buChar char="§"/>
            </a:pPr>
            <a:r>
              <a:rPr lang="es-MX" sz="1600" dirty="0"/>
              <a:t>Seguridad y prevenció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4022" y="3124200"/>
            <a:ext cx="253008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buClr>
                <a:srgbClr val="00B050"/>
              </a:buClr>
              <a:buFont typeface="Wingdings" pitchFamily="2" charset="2"/>
              <a:buChar char="§"/>
            </a:pPr>
            <a:r>
              <a:rPr lang="es-MX" sz="1600" dirty="0" smtClean="0"/>
              <a:t>Responsabilidad </a:t>
            </a:r>
            <a:r>
              <a:rPr lang="es-MX" sz="1600" dirty="0"/>
              <a:t>social empresarial</a:t>
            </a:r>
          </a:p>
          <a:p>
            <a:pPr marL="176213" indent="-176213">
              <a:buClr>
                <a:srgbClr val="00B050"/>
              </a:buClr>
              <a:buFont typeface="Wingdings" pitchFamily="2" charset="2"/>
              <a:buChar char="§"/>
            </a:pPr>
            <a:r>
              <a:rPr lang="es-MX" sz="1600" dirty="0"/>
              <a:t>Ética y cultura de la legalidad</a:t>
            </a:r>
          </a:p>
          <a:p>
            <a:pPr marL="176213" indent="-176213">
              <a:buClr>
                <a:srgbClr val="00B050"/>
              </a:buClr>
              <a:buFont typeface="Wingdings" pitchFamily="2" charset="2"/>
              <a:buChar char="§"/>
            </a:pPr>
            <a:r>
              <a:rPr lang="es-MX" sz="1600" dirty="0"/>
              <a:t>Relación con la comunidad</a:t>
            </a:r>
          </a:p>
          <a:p>
            <a:pPr marL="176213" indent="-176213">
              <a:buClr>
                <a:srgbClr val="00B050"/>
              </a:buClr>
              <a:buFont typeface="Wingdings" pitchFamily="2" charset="2"/>
              <a:buChar char="§"/>
            </a:pPr>
            <a:r>
              <a:rPr lang="es-MX" sz="1600" dirty="0"/>
              <a:t>Cuidado y preservación del medio ambiente</a:t>
            </a:r>
          </a:p>
          <a:p>
            <a:pPr marL="176213" indent="-176213">
              <a:buClr>
                <a:srgbClr val="00B050"/>
              </a:buClr>
              <a:buFont typeface="Wingdings" pitchFamily="2" charset="2"/>
              <a:buChar char="§"/>
            </a:pPr>
            <a:r>
              <a:rPr lang="es-MX" sz="1600" dirty="0"/>
              <a:t>Herramientas para PyMES (SME Toolkit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415332" y="3124200"/>
            <a:ext cx="264822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3"/>
              </a:buClr>
            </a:pPr>
            <a:r>
              <a:rPr lang="es-MX" sz="1600" i="1" dirty="0" smtClean="0"/>
              <a:t>Programas</a:t>
            </a:r>
            <a:r>
              <a:rPr lang="es-MX" sz="1600" dirty="0" smtClean="0"/>
              <a:t>:</a:t>
            </a:r>
          </a:p>
          <a:p>
            <a:pPr marL="176213" indent="-176213">
              <a:buClr>
                <a:srgbClr val="00B050"/>
              </a:buClr>
              <a:buFont typeface="Wingdings" pitchFamily="2" charset="2"/>
              <a:buChar char="§"/>
            </a:pPr>
            <a:r>
              <a:rPr lang="es-MX" sz="1600" dirty="0" smtClean="0"/>
              <a:t>El </a:t>
            </a:r>
            <a:r>
              <a:rPr lang="es-MX" sz="1600" dirty="0"/>
              <a:t>periodista latinoamericano como agente y líder en el desarrollo social</a:t>
            </a:r>
          </a:p>
          <a:p>
            <a:pPr marL="176213" indent="-176213">
              <a:buClr>
                <a:srgbClr val="00B050"/>
              </a:buClr>
              <a:buFont typeface="Wingdings" pitchFamily="2" charset="2"/>
              <a:buChar char="§"/>
            </a:pPr>
            <a:r>
              <a:rPr lang="es-MX" sz="1600" dirty="0"/>
              <a:t>Seminario virtual para un nuevo periodismo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59895" y="2532290"/>
            <a:ext cx="1782016" cy="339213"/>
          </a:xfrm>
          <a:prstGeom prst="rect">
            <a:avLst/>
          </a:prstGeom>
        </p:spPr>
        <p:style>
          <a:lnRef idx="0">
            <a:schemeClr val="accent1"/>
          </a:lnRef>
          <a:fillRef idx="1003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 smtClean="0">
                <a:solidFill>
                  <a:schemeClr val="bg1"/>
                </a:solidFill>
              </a:rPr>
              <a:t>Empresas</a:t>
            </a:r>
            <a:endParaRPr lang="es-MX" sz="1600" b="1" dirty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835608" y="2438400"/>
            <a:ext cx="1782016" cy="526993"/>
          </a:xfrm>
          <a:prstGeom prst="rect">
            <a:avLst/>
          </a:prstGeom>
        </p:spPr>
        <p:style>
          <a:lnRef idx="0">
            <a:schemeClr val="accent1"/>
          </a:lnRef>
          <a:fillRef idx="1003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 smtClean="0">
                <a:solidFill>
                  <a:schemeClr val="bg1"/>
                </a:solidFill>
              </a:rPr>
              <a:t>Organizaciones</a:t>
            </a:r>
            <a:r>
              <a:rPr lang="es-MX" sz="1600" b="1" dirty="0">
                <a:solidFill>
                  <a:schemeClr val="bg1"/>
                </a:solidFill>
              </a:rPr>
              <a:t> </a:t>
            </a:r>
            <a:r>
              <a:rPr lang="es-MX" sz="1600" b="1" dirty="0" smtClean="0">
                <a:solidFill>
                  <a:schemeClr val="bg1"/>
                </a:solidFill>
              </a:rPr>
              <a:t>de la Sociedad Civil</a:t>
            </a:r>
            <a:endParaRPr lang="es-MX" sz="1600" b="1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161794" y="5892225"/>
            <a:ext cx="138371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1600" b="1" dirty="0" smtClean="0">
                <a:solidFill>
                  <a:srgbClr val="FFC000"/>
                </a:solidFill>
              </a:rPr>
              <a:t>2 diplomados </a:t>
            </a:r>
          </a:p>
          <a:p>
            <a:pPr algn="ctr"/>
            <a:r>
              <a:rPr lang="es-MX" sz="1600" b="1" dirty="0" smtClean="0">
                <a:solidFill>
                  <a:srgbClr val="FFC000"/>
                </a:solidFill>
              </a:rPr>
              <a:t>y 1 curso</a:t>
            </a:r>
            <a:endParaRPr lang="es-MX" sz="1600" b="1" dirty="0">
              <a:solidFill>
                <a:srgbClr val="FFC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913337" y="5892225"/>
            <a:ext cx="144623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1600" b="1" dirty="0" smtClean="0">
                <a:solidFill>
                  <a:srgbClr val="FFC000"/>
                </a:solidFill>
              </a:rPr>
              <a:t>1 diplomado y </a:t>
            </a:r>
          </a:p>
          <a:p>
            <a:pPr algn="ctr"/>
            <a:r>
              <a:rPr lang="es-MX" sz="1600" b="1" dirty="0" smtClean="0">
                <a:solidFill>
                  <a:srgbClr val="FFC000"/>
                </a:solidFill>
              </a:rPr>
              <a:t>1 seminario</a:t>
            </a:r>
            <a:endParaRPr lang="es-MX" sz="1600" b="1" dirty="0">
              <a:solidFill>
                <a:srgbClr val="FFC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04800" y="5892225"/>
            <a:ext cx="26593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>
                <a:solidFill>
                  <a:srgbClr val="FFC000"/>
                </a:solidFill>
              </a:rPr>
              <a:t>3</a:t>
            </a:r>
            <a:r>
              <a:rPr lang="es-MX" sz="1600" b="1" dirty="0" smtClean="0">
                <a:solidFill>
                  <a:srgbClr val="FFC000"/>
                </a:solidFill>
              </a:rPr>
              <a:t> diplomados, 1 cursos y </a:t>
            </a:r>
          </a:p>
          <a:p>
            <a:pPr algn="ctr"/>
            <a:r>
              <a:rPr lang="es-MX" sz="1600" b="1" dirty="0" smtClean="0">
                <a:solidFill>
                  <a:srgbClr val="FFC000"/>
                </a:solidFill>
              </a:rPr>
              <a:t>922 objetos de aprendizaje</a:t>
            </a:r>
            <a:endParaRPr lang="es-MX" sz="1600" b="1" dirty="0">
              <a:solidFill>
                <a:srgbClr val="FFC000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658535" y="2532290"/>
            <a:ext cx="1782016" cy="339213"/>
          </a:xfrm>
          <a:prstGeom prst="rect">
            <a:avLst/>
          </a:prstGeom>
        </p:spPr>
        <p:style>
          <a:lnRef idx="0">
            <a:schemeClr val="accent1"/>
          </a:lnRef>
          <a:fillRef idx="1003">
            <a:schemeClr val="l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600" b="1" dirty="0" smtClean="0">
                <a:solidFill>
                  <a:schemeClr val="bg1"/>
                </a:solidFill>
              </a:rPr>
              <a:t>Periodistas</a:t>
            </a:r>
            <a:endParaRPr lang="es-MX" sz="1600" b="1" dirty="0">
              <a:solidFill>
                <a:schemeClr val="bg1"/>
              </a:solidFill>
            </a:endParaRPr>
          </a:p>
        </p:txBody>
      </p:sp>
      <p:pic>
        <p:nvPicPr>
          <p:cNvPr id="39" name="Picture 3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972" y="1066800"/>
            <a:ext cx="1276428" cy="10919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0" name="Picture 4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0031" y="1087965"/>
            <a:ext cx="1265769" cy="104963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1" name="Title 7"/>
          <p:cNvSpPr>
            <a:spLocks noGrp="1"/>
          </p:cNvSpPr>
          <p:nvPr>
            <p:ph type="title"/>
          </p:nvPr>
        </p:nvSpPr>
        <p:spPr>
          <a:xfrm>
            <a:off x="228600" y="76200"/>
            <a:ext cx="8382000" cy="609398"/>
          </a:xfrm>
        </p:spPr>
        <p:txBody>
          <a:bodyPr/>
          <a:lstStyle/>
          <a:p>
            <a:r>
              <a:rPr lang="es-MX" sz="4400" dirty="0" smtClean="0"/>
              <a:t>Desarrollo de talento y certificaciones</a:t>
            </a:r>
            <a:endParaRPr lang="es-MX" sz="4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15332" y="1289234"/>
            <a:ext cx="2383586" cy="647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11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6345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997196"/>
          </a:xfrm>
        </p:spPr>
        <p:txBody>
          <a:bodyPr/>
          <a:lstStyle/>
          <a:p>
            <a:r>
              <a:rPr lang="es-MX" sz="3600" dirty="0" smtClean="0"/>
              <a:t>Ambientes virtuales de aprendizaje </a:t>
            </a:r>
            <a:br>
              <a:rPr lang="es-MX" sz="3600" dirty="0" smtClean="0"/>
            </a:br>
            <a:r>
              <a:rPr lang="es-MX" sz="3600" dirty="0" smtClean="0"/>
              <a:t>(comunidades de aprendizaje)</a:t>
            </a:r>
            <a:endParaRPr lang="es-MX" sz="3600" dirty="0"/>
          </a:p>
        </p:txBody>
      </p:sp>
      <p:grpSp>
        <p:nvGrpSpPr>
          <p:cNvPr id="3" name="Group 2"/>
          <p:cNvGrpSpPr/>
          <p:nvPr/>
        </p:nvGrpSpPr>
        <p:grpSpPr>
          <a:xfrm>
            <a:off x="2590800" y="2317565"/>
            <a:ext cx="3536033" cy="2982345"/>
            <a:chOff x="2195736" y="1849608"/>
            <a:chExt cx="4464497" cy="3765426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95736" y="2420888"/>
              <a:ext cx="2526635" cy="2075450"/>
            </a:xfrm>
            <a:prstGeom prst="rect">
              <a:avLst/>
            </a:prstGeom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6990" y="3480478"/>
              <a:ext cx="2588989" cy="21345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9053" y="1849608"/>
              <a:ext cx="2887110" cy="20275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4229" y="3012019"/>
              <a:ext cx="2726004" cy="17303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0" name="Rectangle 9"/>
          <p:cNvSpPr/>
          <p:nvPr/>
        </p:nvSpPr>
        <p:spPr>
          <a:xfrm>
            <a:off x="1235416" y="1752939"/>
            <a:ext cx="978153" cy="36933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s-MX" dirty="0"/>
              <a:t>Asesorí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00869" y="2780458"/>
            <a:ext cx="1553605" cy="36933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MX" dirty="0" smtClean="0"/>
              <a:t>Guías virtuales</a:t>
            </a:r>
            <a:endParaRPr lang="es-MX" dirty="0"/>
          </a:p>
        </p:txBody>
      </p:sp>
      <p:sp>
        <p:nvSpPr>
          <p:cNvPr id="12" name="TextBox 11"/>
          <p:cNvSpPr txBox="1"/>
          <p:nvPr/>
        </p:nvSpPr>
        <p:spPr>
          <a:xfrm>
            <a:off x="5930248" y="1694135"/>
            <a:ext cx="2177444" cy="36933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MX" dirty="0" smtClean="0"/>
              <a:t>Recursos abiertos</a:t>
            </a:r>
            <a:endParaRPr lang="es-MX" dirty="0"/>
          </a:p>
        </p:txBody>
      </p:sp>
      <p:sp>
        <p:nvSpPr>
          <p:cNvPr id="13" name="TextBox 12"/>
          <p:cNvSpPr txBox="1"/>
          <p:nvPr/>
        </p:nvSpPr>
        <p:spPr>
          <a:xfrm>
            <a:off x="251519" y="3809389"/>
            <a:ext cx="1800201" cy="646331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MX" dirty="0" smtClean="0"/>
              <a:t>Redes de colaboración</a:t>
            </a:r>
            <a:endParaRPr lang="es-MX" dirty="0"/>
          </a:p>
        </p:txBody>
      </p:sp>
      <p:sp>
        <p:nvSpPr>
          <p:cNvPr id="14" name="TextBox 13"/>
          <p:cNvSpPr txBox="1"/>
          <p:nvPr/>
        </p:nvSpPr>
        <p:spPr>
          <a:xfrm>
            <a:off x="3162058" y="1568273"/>
            <a:ext cx="1717891" cy="36933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MX" dirty="0" smtClean="0"/>
              <a:t>Cursos gratuitos</a:t>
            </a:r>
            <a:endParaRPr lang="es-MX" dirty="0"/>
          </a:p>
        </p:txBody>
      </p:sp>
      <p:sp>
        <p:nvSpPr>
          <p:cNvPr id="15" name="TextBox 14"/>
          <p:cNvSpPr txBox="1"/>
          <p:nvPr/>
        </p:nvSpPr>
        <p:spPr>
          <a:xfrm>
            <a:off x="7296619" y="3627219"/>
            <a:ext cx="1368151" cy="36933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MX" dirty="0" smtClean="0"/>
              <a:t>Videotecas</a:t>
            </a:r>
            <a:endParaRPr lang="es-MX" dirty="0"/>
          </a:p>
        </p:txBody>
      </p:sp>
      <p:sp>
        <p:nvSpPr>
          <p:cNvPr id="16" name="TextBox 15"/>
          <p:cNvSpPr txBox="1"/>
          <p:nvPr/>
        </p:nvSpPr>
        <p:spPr>
          <a:xfrm>
            <a:off x="7028114" y="2609512"/>
            <a:ext cx="1512168" cy="36933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MX" dirty="0" smtClean="0"/>
              <a:t>Documentos</a:t>
            </a:r>
            <a:endParaRPr lang="es-MX" dirty="0"/>
          </a:p>
        </p:txBody>
      </p:sp>
      <p:sp>
        <p:nvSpPr>
          <p:cNvPr id="17" name="TextBox 16"/>
          <p:cNvSpPr txBox="1"/>
          <p:nvPr/>
        </p:nvSpPr>
        <p:spPr>
          <a:xfrm>
            <a:off x="5930248" y="5346071"/>
            <a:ext cx="2687818" cy="36933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MX" dirty="0" smtClean="0"/>
              <a:t>Laboratorios PISA/ ENLACE</a:t>
            </a:r>
            <a:endParaRPr lang="es-MX" dirty="0"/>
          </a:p>
        </p:txBody>
      </p:sp>
      <p:sp>
        <p:nvSpPr>
          <p:cNvPr id="18" name="TextBox 17"/>
          <p:cNvSpPr txBox="1"/>
          <p:nvPr/>
        </p:nvSpPr>
        <p:spPr>
          <a:xfrm>
            <a:off x="1875902" y="5906869"/>
            <a:ext cx="2010298" cy="646331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MX" dirty="0" smtClean="0"/>
              <a:t>Integración a redes sociales</a:t>
            </a:r>
            <a:endParaRPr lang="es-MX" dirty="0"/>
          </a:p>
        </p:txBody>
      </p:sp>
      <p:sp>
        <p:nvSpPr>
          <p:cNvPr id="19" name="TextBox 18"/>
          <p:cNvSpPr txBox="1"/>
          <p:nvPr/>
        </p:nvSpPr>
        <p:spPr>
          <a:xfrm>
            <a:off x="617577" y="5017399"/>
            <a:ext cx="2334128" cy="646331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MX" dirty="0" smtClean="0"/>
              <a:t>Iniciativas y buenas prácticas</a:t>
            </a:r>
            <a:endParaRPr lang="es-MX" dirty="0"/>
          </a:p>
        </p:txBody>
      </p:sp>
      <p:sp>
        <p:nvSpPr>
          <p:cNvPr id="20" name="TextBox 19"/>
          <p:cNvSpPr txBox="1"/>
          <p:nvPr/>
        </p:nvSpPr>
        <p:spPr>
          <a:xfrm>
            <a:off x="4649982" y="6045368"/>
            <a:ext cx="1826238" cy="36933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MX" dirty="0" smtClean="0"/>
              <a:t>Autodiagnósticos</a:t>
            </a:r>
            <a:endParaRPr lang="es-MX" dirty="0"/>
          </a:p>
        </p:txBody>
      </p:sp>
      <p:sp>
        <p:nvSpPr>
          <p:cNvPr id="21" name="TextBox 20"/>
          <p:cNvSpPr txBox="1"/>
          <p:nvPr/>
        </p:nvSpPr>
        <p:spPr>
          <a:xfrm>
            <a:off x="7206385" y="4613857"/>
            <a:ext cx="1368151" cy="36933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MX" dirty="0" smtClean="0"/>
              <a:t>Bibliotecas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1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048383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886397"/>
          </a:xfrm>
        </p:spPr>
        <p:txBody>
          <a:bodyPr/>
          <a:lstStyle/>
          <a:p>
            <a:r>
              <a:rPr lang="es-MX" sz="3200" dirty="0" smtClean="0"/>
              <a:t>Ambientes virtuales de aprendizaje </a:t>
            </a:r>
            <a:br>
              <a:rPr lang="es-MX" sz="3200" dirty="0" smtClean="0"/>
            </a:br>
            <a:r>
              <a:rPr lang="es-MX" sz="3200" dirty="0" smtClean="0"/>
              <a:t>(comunidades de aprendizaje)</a:t>
            </a:r>
            <a:endParaRPr lang="es-MX" sz="32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1374321"/>
            <a:ext cx="3150705" cy="258807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04800" y="1371600"/>
            <a:ext cx="502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Formando Formadores</a:t>
            </a:r>
          </a:p>
          <a:p>
            <a:r>
              <a:rPr lang="es-MX" dirty="0" smtClean="0"/>
              <a:t>Resultados: Casi 2 millones de visitas desde 2009</a:t>
            </a:r>
            <a:endParaRPr lang="es-MX" dirty="0"/>
          </a:p>
        </p:txBody>
      </p:sp>
      <p:sp>
        <p:nvSpPr>
          <p:cNvPr id="7" name="TextBox 6"/>
          <p:cNvSpPr txBox="1"/>
          <p:nvPr/>
        </p:nvSpPr>
        <p:spPr>
          <a:xfrm>
            <a:off x="381000" y="2066824"/>
            <a:ext cx="4800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Laboratorios de práctica PISA / ENLAC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Asesorías en líne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Promociones (Aprendizaje Verde)</a:t>
            </a:r>
            <a:endParaRPr lang="es-MX" dirty="0"/>
          </a:p>
        </p:txBody>
      </p:sp>
      <p:sp>
        <p:nvSpPr>
          <p:cNvPr id="9" name="TextBox 8"/>
          <p:cNvSpPr txBox="1"/>
          <p:nvPr/>
        </p:nvSpPr>
        <p:spPr>
          <a:xfrm>
            <a:off x="304800" y="4114800"/>
            <a:ext cx="502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Centros Comunitarios de Aprendizaje (CCA)</a:t>
            </a:r>
          </a:p>
          <a:p>
            <a:r>
              <a:rPr lang="es-MX" dirty="0" smtClean="0"/>
              <a:t>Resultados: Mas de un millón de visitas desde 2009</a:t>
            </a:r>
            <a:endParaRPr lang="es-MX" dirty="0"/>
          </a:p>
        </p:txBody>
      </p:sp>
      <p:sp>
        <p:nvSpPr>
          <p:cNvPr id="10" name="TextBox 9"/>
          <p:cNvSpPr txBox="1"/>
          <p:nvPr/>
        </p:nvSpPr>
        <p:spPr>
          <a:xfrm>
            <a:off x="381000" y="4853119"/>
            <a:ext cx="4800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Cursos gratuito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Guías interactiva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Enciclopedias, Revistas, Traductores, etc.</a:t>
            </a:r>
            <a:endParaRPr lang="es-MX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0" y="4115837"/>
            <a:ext cx="3171983" cy="2251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762000" y="3157361"/>
            <a:ext cx="3581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www.formandoformadores.org.mx</a:t>
            </a:r>
            <a:endParaRPr lang="es-MX" sz="1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95528" y="6029224"/>
            <a:ext cx="3581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www.cca.org.mx</a:t>
            </a:r>
            <a:endParaRPr lang="es-MX" sz="1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13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71778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886397"/>
          </a:xfrm>
        </p:spPr>
        <p:txBody>
          <a:bodyPr/>
          <a:lstStyle/>
          <a:p>
            <a:r>
              <a:rPr lang="es-MX" sz="3200" dirty="0" smtClean="0"/>
              <a:t>Ambientes virtuales de aprendizaje </a:t>
            </a:r>
            <a:br>
              <a:rPr lang="es-MX" sz="3200" dirty="0" smtClean="0"/>
            </a:br>
            <a:r>
              <a:rPr lang="es-MX" sz="3200" dirty="0" smtClean="0"/>
              <a:t>(comunidades de aprendizaje)</a:t>
            </a:r>
            <a:endParaRPr lang="es-MX" sz="3200" dirty="0"/>
          </a:p>
        </p:txBody>
      </p:sp>
      <p:sp>
        <p:nvSpPr>
          <p:cNvPr id="6" name="TextBox 5"/>
          <p:cNvSpPr txBox="1"/>
          <p:nvPr/>
        </p:nvSpPr>
        <p:spPr>
          <a:xfrm>
            <a:off x="304800" y="1371600"/>
            <a:ext cx="502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Emprende Gestión Pública</a:t>
            </a:r>
          </a:p>
          <a:p>
            <a:r>
              <a:rPr lang="es-MX" dirty="0" smtClean="0"/>
              <a:t>Resultados: 35,000 visitas desde 2009</a:t>
            </a:r>
            <a:endParaRPr lang="es-MX" dirty="0"/>
          </a:p>
        </p:txBody>
      </p:sp>
      <p:sp>
        <p:nvSpPr>
          <p:cNvPr id="7" name="TextBox 6"/>
          <p:cNvSpPr txBox="1"/>
          <p:nvPr/>
        </p:nvSpPr>
        <p:spPr>
          <a:xfrm>
            <a:off x="381000" y="2075422"/>
            <a:ext cx="4800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Iniciativas y buenas prácticas de los funcionario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Autodiagnóstico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04800" y="3962400"/>
            <a:ext cx="502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Responsabilidad Social Empresarial (RSE)</a:t>
            </a:r>
          </a:p>
          <a:p>
            <a:r>
              <a:rPr lang="es-MX" dirty="0" smtClean="0"/>
              <a:t>Resultados: 43,000 visitas desde 2009</a:t>
            </a:r>
            <a:endParaRPr lang="es-MX" dirty="0"/>
          </a:p>
        </p:txBody>
      </p:sp>
      <p:sp>
        <p:nvSpPr>
          <p:cNvPr id="10" name="TextBox 9"/>
          <p:cNvSpPr txBox="1"/>
          <p:nvPr/>
        </p:nvSpPr>
        <p:spPr>
          <a:xfrm>
            <a:off x="381000" y="4743271"/>
            <a:ext cx="4800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Autodiagnóstico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Centros de recurso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Asesoría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Boletín electrónico</a:t>
            </a:r>
            <a:endParaRPr lang="es-MX" dirty="0"/>
          </a:p>
        </p:txBody>
      </p:sp>
      <p:sp>
        <p:nvSpPr>
          <p:cNvPr id="11" name="TextBox 10"/>
          <p:cNvSpPr txBox="1"/>
          <p:nvPr/>
        </p:nvSpPr>
        <p:spPr>
          <a:xfrm>
            <a:off x="762000" y="3108468"/>
            <a:ext cx="3581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www.emprendegestionpublica.org</a:t>
            </a:r>
            <a:endParaRPr lang="es-MX" sz="1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95528" y="5986046"/>
            <a:ext cx="3581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www.rse.org.mx</a:t>
            </a:r>
            <a:endParaRPr lang="es-MX" sz="1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10200" y="1290959"/>
            <a:ext cx="3200401" cy="25190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10198" y="3948517"/>
            <a:ext cx="3200403" cy="2680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14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8954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886397"/>
          </a:xfrm>
        </p:spPr>
        <p:txBody>
          <a:bodyPr/>
          <a:lstStyle/>
          <a:p>
            <a:r>
              <a:rPr lang="es-MX" sz="3200" dirty="0" smtClean="0"/>
              <a:t>Ambientes virtuales de aprendizaje </a:t>
            </a:r>
            <a:br>
              <a:rPr lang="es-MX" sz="3200" dirty="0" smtClean="0"/>
            </a:br>
            <a:r>
              <a:rPr lang="es-MX" sz="3200" dirty="0" smtClean="0"/>
              <a:t>(comunidades de aprendizaje)</a:t>
            </a:r>
            <a:endParaRPr lang="es-MX" sz="3200" dirty="0"/>
          </a:p>
        </p:txBody>
      </p:sp>
      <p:sp>
        <p:nvSpPr>
          <p:cNvPr id="6" name="TextBox 5"/>
          <p:cNvSpPr txBox="1"/>
          <p:nvPr/>
        </p:nvSpPr>
        <p:spPr>
          <a:xfrm>
            <a:off x="304800" y="1337846"/>
            <a:ext cx="502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as Sociedad</a:t>
            </a:r>
          </a:p>
          <a:p>
            <a:r>
              <a:rPr lang="es-MX" dirty="0" smtClean="0"/>
              <a:t>Resultados: 35,000 visitas desde 2009</a:t>
            </a:r>
            <a:endParaRPr lang="es-MX" dirty="0"/>
          </a:p>
        </p:txBody>
      </p:sp>
      <p:sp>
        <p:nvSpPr>
          <p:cNvPr id="7" name="TextBox 6"/>
          <p:cNvSpPr txBox="1"/>
          <p:nvPr/>
        </p:nvSpPr>
        <p:spPr>
          <a:xfrm>
            <a:off x="381000" y="1984177"/>
            <a:ext cx="4800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Autodiagnóstico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Buenas práctica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Asesoría especializad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Centro de recurso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04800" y="3886200"/>
            <a:ext cx="502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Aprendizaje Verde </a:t>
            </a:r>
          </a:p>
          <a:p>
            <a:r>
              <a:rPr lang="es-MX" dirty="0" smtClean="0"/>
              <a:t>Resultados: más de 2,000 visitas en el primer mes</a:t>
            </a:r>
            <a:endParaRPr lang="es-MX" dirty="0"/>
          </a:p>
        </p:txBody>
      </p:sp>
      <p:sp>
        <p:nvSpPr>
          <p:cNvPr id="10" name="TextBox 9"/>
          <p:cNvSpPr txBox="1"/>
          <p:nvPr/>
        </p:nvSpPr>
        <p:spPr>
          <a:xfrm>
            <a:off x="381000" y="4532531"/>
            <a:ext cx="4800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Videotec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Juego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Guía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Integración redes social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62000" y="3319046"/>
            <a:ext cx="3581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www.massociedad.org.mx</a:t>
            </a:r>
            <a:endParaRPr lang="es-MX" sz="1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95528" y="5708636"/>
            <a:ext cx="3581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www.aprendizajeverde.net</a:t>
            </a:r>
            <a:endParaRPr lang="es-MX" sz="1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84480" y="1156115"/>
            <a:ext cx="3276602" cy="25794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84481" y="3928646"/>
            <a:ext cx="3291780" cy="2302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15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618639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886397"/>
          </a:xfrm>
        </p:spPr>
        <p:txBody>
          <a:bodyPr/>
          <a:lstStyle/>
          <a:p>
            <a:r>
              <a:rPr lang="es-MX" sz="3200" dirty="0" smtClean="0"/>
              <a:t>Ambientes virtuales de aprendizaje </a:t>
            </a:r>
            <a:br>
              <a:rPr lang="es-MX" sz="3200" dirty="0" smtClean="0"/>
            </a:br>
            <a:r>
              <a:rPr lang="es-MX" sz="3200" dirty="0" smtClean="0"/>
              <a:t>(comunidades de aprendizaje)</a:t>
            </a:r>
            <a:endParaRPr lang="es-MX" sz="3200" dirty="0"/>
          </a:p>
        </p:txBody>
      </p:sp>
      <p:sp>
        <p:nvSpPr>
          <p:cNvPr id="6" name="TextBox 5"/>
          <p:cNvSpPr txBox="1"/>
          <p:nvPr/>
        </p:nvSpPr>
        <p:spPr>
          <a:xfrm>
            <a:off x="304800" y="1709401"/>
            <a:ext cx="502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Vamos a la universidad</a:t>
            </a:r>
          </a:p>
          <a:p>
            <a:r>
              <a:rPr lang="es-MX" dirty="0" smtClean="0"/>
              <a:t>Resultados: más de 1,000 visitas en el primer mes</a:t>
            </a:r>
            <a:endParaRPr lang="es-MX" dirty="0"/>
          </a:p>
        </p:txBody>
      </p:sp>
      <p:sp>
        <p:nvSpPr>
          <p:cNvPr id="7" name="TextBox 6"/>
          <p:cNvSpPr txBox="1"/>
          <p:nvPr/>
        </p:nvSpPr>
        <p:spPr>
          <a:xfrm>
            <a:off x="381000" y="2355732"/>
            <a:ext cx="4800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Autodiagnóstico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Buenas práctica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Asesoría especializad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dirty="0" smtClean="0"/>
              <a:t>Centro de recurso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95528" y="3547646"/>
            <a:ext cx="3581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www.vamosalauniversidad.com</a:t>
            </a:r>
            <a:endParaRPr lang="es-MX" sz="1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37568" y="1768333"/>
            <a:ext cx="3525432" cy="196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16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0352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498598"/>
          </a:xfrm>
        </p:spPr>
        <p:txBody>
          <a:bodyPr/>
          <a:lstStyle/>
          <a:p>
            <a:r>
              <a:rPr lang="en-US" sz="3600" dirty="0" smtClean="0"/>
              <a:t>Investigación y Desarrollo de Modelos Educativos</a:t>
            </a:r>
            <a:endParaRPr lang="en-US" sz="3600" dirty="0"/>
          </a:p>
        </p:txBody>
      </p:sp>
      <p:pic>
        <p:nvPicPr>
          <p:cNvPr id="3" name="Picture 2" descr="E:\UV-L00564567\Laboral\Documents\Pictures\TERNIUM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6578" y="5045473"/>
            <a:ext cx="1188132" cy="387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http://www.tenaris.com/images_localsites/logos/logo_tag_sp_tamsa.gif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652" y="5716431"/>
            <a:ext cx="1467984" cy="46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Imagen Centro educativo y productivo.jpg"/>
          <p:cNvPicPr>
            <a:picLocks noChangeAspect="1"/>
          </p:cNvPicPr>
          <p:nvPr/>
        </p:nvPicPr>
        <p:blipFill rotWithShape="1">
          <a:blip r:embed="rId5" cstate="email">
            <a:clrChange>
              <a:clrFrom>
                <a:srgbClr val="19348D"/>
              </a:clrFrom>
              <a:clrTo>
                <a:srgbClr val="19348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200" y="2345620"/>
            <a:ext cx="2488889" cy="794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2587337" y="2590800"/>
            <a:ext cx="2362199" cy="83099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MX" sz="2400" b="1" dirty="0" smtClean="0">
                <a:solidFill>
                  <a:schemeClr val="tx1"/>
                </a:solidFill>
              </a:rPr>
              <a:t>Modelos Educativos</a:t>
            </a:r>
          </a:p>
        </p:txBody>
      </p:sp>
      <p:pic>
        <p:nvPicPr>
          <p:cNvPr id="1026" name="Picture 2" descr="http://www.utselva.edu.mx/img/arbol.pn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644" y="3423429"/>
            <a:ext cx="762000" cy="685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583873" y="5634335"/>
            <a:ext cx="2369126" cy="461665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I</a:t>
            </a:r>
            <a:r>
              <a:rPr lang="en-US" sz="2400" b="1" dirty="0" smtClean="0"/>
              <a:t>nvestigación</a:t>
            </a:r>
            <a:r>
              <a:rPr lang="en-US" b="1" dirty="0" smtClean="0"/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410200" y="1490008"/>
            <a:ext cx="3581400" cy="187743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2"/>
                </a:solidFill>
              </a:rPr>
              <a:t>Líneas de Intervención </a:t>
            </a:r>
          </a:p>
          <a:p>
            <a:pPr marL="265113" lvl="1" indent="-265113">
              <a:buFont typeface="Arial" pitchFamily="34" charset="0"/>
              <a:buChar char="•"/>
            </a:pPr>
            <a:r>
              <a:rPr lang="es-MX" sz="1600" dirty="0" smtClean="0">
                <a:solidFill>
                  <a:schemeClr val="bg2"/>
                </a:solidFill>
              </a:rPr>
              <a:t>Habilidades cognitivas (PIENSO)</a:t>
            </a:r>
            <a:endParaRPr lang="es-MX" sz="1600" dirty="0">
              <a:solidFill>
                <a:schemeClr val="bg2"/>
              </a:solidFill>
            </a:endParaRPr>
          </a:p>
          <a:p>
            <a:pPr marL="265113" lvl="1" indent="-265113">
              <a:buFont typeface="Arial" pitchFamily="34" charset="0"/>
              <a:buChar char="•"/>
            </a:pPr>
            <a:r>
              <a:rPr lang="es-MX" sz="1600" dirty="0">
                <a:solidFill>
                  <a:schemeClr val="bg2"/>
                </a:solidFill>
              </a:rPr>
              <a:t>Competencia </a:t>
            </a:r>
            <a:r>
              <a:rPr lang="es-MX" sz="1600" dirty="0" smtClean="0">
                <a:solidFill>
                  <a:schemeClr val="bg2"/>
                </a:solidFill>
              </a:rPr>
              <a:t>Matemática y Lectora</a:t>
            </a:r>
          </a:p>
          <a:p>
            <a:pPr marL="265113" lvl="1" indent="-265113">
              <a:buFont typeface="Arial" pitchFamily="34" charset="0"/>
              <a:buChar char="•"/>
            </a:pPr>
            <a:r>
              <a:rPr lang="es-MX" sz="1600" dirty="0" smtClean="0">
                <a:solidFill>
                  <a:schemeClr val="bg2"/>
                </a:solidFill>
              </a:rPr>
              <a:t>Diseño e implementación de unidades didácticas </a:t>
            </a:r>
          </a:p>
          <a:p>
            <a:pPr marL="265113" lvl="1" indent="-265113">
              <a:buFont typeface="Arial" pitchFamily="34" charset="0"/>
              <a:buChar char="•"/>
            </a:pPr>
            <a:r>
              <a:rPr lang="es-MX" sz="1600" dirty="0" smtClean="0">
                <a:solidFill>
                  <a:schemeClr val="bg2"/>
                </a:solidFill>
              </a:rPr>
              <a:t>Capacitación y formación </a:t>
            </a:r>
            <a:r>
              <a:rPr lang="es-MX" sz="1600" dirty="0">
                <a:solidFill>
                  <a:schemeClr val="bg2"/>
                </a:solidFill>
              </a:rPr>
              <a:t>docente presencial y en </a:t>
            </a:r>
            <a:r>
              <a:rPr lang="es-MX" sz="1600" dirty="0" smtClean="0">
                <a:solidFill>
                  <a:schemeClr val="bg2"/>
                </a:solidFill>
              </a:rPr>
              <a:t>línea</a:t>
            </a:r>
            <a:endParaRPr lang="es-MX" sz="1600" dirty="0">
              <a:solidFill>
                <a:schemeClr val="bg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410200" y="4419600"/>
            <a:ext cx="3581400" cy="163121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</a:rPr>
              <a:t>Metodología</a:t>
            </a:r>
            <a:endParaRPr lang="en-US" sz="16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176213" indent="-176213">
              <a:buFont typeface="Arial" pitchFamily="34" charset="0"/>
              <a:buChar char="•"/>
            </a:pPr>
            <a:r>
              <a:rPr lang="en-US" sz="1600" dirty="0" err="1" smtClean="0">
                <a:solidFill>
                  <a:schemeClr val="accent1">
                    <a:lumMod val="50000"/>
                  </a:schemeClr>
                </a:solidFill>
              </a:rPr>
              <a:t>Investigación</a:t>
            </a:r>
            <a:r>
              <a:rPr lang="en-US" sz="1600" dirty="0" smtClean="0">
                <a:solidFill>
                  <a:schemeClr val="accent1">
                    <a:lumMod val="50000"/>
                  </a:schemeClr>
                </a:solidFill>
              </a:rPr>
              <a:t> cuantitativa BADyG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accent1">
                    <a:lumMod val="50000"/>
                  </a:schemeClr>
                </a:solidFill>
              </a:rPr>
              <a:t>Reactivos tipo ENLACE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accent1">
                    <a:lumMod val="50000"/>
                  </a:schemeClr>
                </a:solidFill>
              </a:rPr>
              <a:t>Reactivos tipo PISA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600" dirty="0" err="1" smtClean="0">
                <a:solidFill>
                  <a:schemeClr val="accent1">
                    <a:lumMod val="50000"/>
                  </a:schemeClr>
                </a:solidFill>
              </a:rPr>
              <a:t>Seguimiento</a:t>
            </a:r>
            <a:r>
              <a:rPr lang="en-US" sz="1600" dirty="0" smtClean="0">
                <a:solidFill>
                  <a:schemeClr val="accent1">
                    <a:lumMod val="50000"/>
                  </a:schemeClr>
                </a:solidFill>
              </a:rPr>
              <a:t> cualitativo proceso de implementación de los modelos</a:t>
            </a:r>
          </a:p>
        </p:txBody>
      </p:sp>
      <p:sp>
        <p:nvSpPr>
          <p:cNvPr id="15" name="Right Arrow 14"/>
          <p:cNvSpPr/>
          <p:nvPr/>
        </p:nvSpPr>
        <p:spPr bwMode="auto">
          <a:xfrm rot="16200000">
            <a:off x="3082636" y="4235722"/>
            <a:ext cx="1371600" cy="672558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9259" y="4392686"/>
            <a:ext cx="9827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 smtClean="0"/>
              <a:t>UT Selva</a:t>
            </a:r>
            <a:endParaRPr lang="es-MX" dirty="0"/>
          </a:p>
        </p:txBody>
      </p:sp>
      <p:pic>
        <p:nvPicPr>
          <p:cNvPr id="4098" name="Picture 2" descr="http://laradioenmexico.mx/wp-content/uploads/2009/05/logo-sep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3367" y="1371600"/>
            <a:ext cx="1034554" cy="690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17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1048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400"/>
            <a:ext cx="8991600" cy="664797"/>
          </a:xfrm>
        </p:spPr>
        <p:txBody>
          <a:bodyPr/>
          <a:lstStyle/>
          <a:p>
            <a:pPr algn="ctr"/>
            <a:r>
              <a:rPr lang="es-MX" dirty="0"/>
              <a:t>Soluciones de </a:t>
            </a:r>
            <a:r>
              <a:rPr lang="es-MX" dirty="0" smtClean="0"/>
              <a:t>base tecnológica</a:t>
            </a:r>
            <a:endParaRPr lang="es-MX" dirty="0"/>
          </a:p>
        </p:txBody>
      </p:sp>
      <p:pic>
        <p:nvPicPr>
          <p:cNvPr id="1026" name="Picture 1" descr="image001">
            <a:hlinkClick r:id="rId2"/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0400" y="2810439"/>
            <a:ext cx="3194011" cy="23892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733800" y="924580"/>
            <a:ext cx="15879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800" dirty="0" smtClean="0"/>
              <a:t>CONACYT</a:t>
            </a:r>
            <a:endParaRPr lang="es-MX" sz="2800" dirty="0"/>
          </a:p>
        </p:txBody>
      </p:sp>
      <p:sp>
        <p:nvSpPr>
          <p:cNvPr id="7" name="Rounded Rectangle 6"/>
          <p:cNvSpPr/>
          <p:nvPr/>
        </p:nvSpPr>
        <p:spPr>
          <a:xfrm>
            <a:off x="1371600" y="1045096"/>
            <a:ext cx="6696744" cy="936104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400" dirty="0" smtClean="0"/>
              <a:t>Colaboración y alianzas</a:t>
            </a:r>
          </a:p>
          <a:p>
            <a:pPr algn="ctr"/>
            <a:r>
              <a:rPr lang="es-MX" sz="2000" dirty="0" smtClean="0"/>
              <a:t>Presidencia – CONACyT – ITESM (Campus Santa Fe y UTV)</a:t>
            </a:r>
            <a:endParaRPr lang="es-MX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6563638" y="3429000"/>
            <a:ext cx="25803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400" b="1" dirty="0" smtClean="0"/>
              <a:t>Programa de Formación </a:t>
            </a:r>
          </a:p>
          <a:p>
            <a:pPr algn="ctr"/>
            <a:r>
              <a:rPr lang="es-MX" sz="1400" b="1" dirty="0" smtClean="0"/>
              <a:t>de Alto Nivel para la </a:t>
            </a:r>
          </a:p>
          <a:p>
            <a:pPr algn="ctr"/>
            <a:r>
              <a:rPr lang="es-MX" sz="1400" b="1" dirty="0" smtClean="0"/>
              <a:t>Administración Pública Federal</a:t>
            </a:r>
            <a:endParaRPr lang="es-MX" sz="1400" b="1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533400" y="2362200"/>
            <a:ext cx="1981200" cy="914400"/>
          </a:xfrm>
          <a:prstGeom prst="roundRect">
            <a:avLst/>
          </a:prstGeom>
          <a:solidFill>
            <a:schemeClr val="accent6"/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MX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" pitchFamily="34" charset="0"/>
              </a:rPr>
              <a:t>Laboratorios de Práctica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457200" y="3798332"/>
            <a:ext cx="1981200" cy="9144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MX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" pitchFamily="34" charset="0"/>
              </a:rPr>
              <a:t>Herramientas Interactivas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838200" y="5334000"/>
            <a:ext cx="1905000" cy="9144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MX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" pitchFamily="34" charset="0"/>
              </a:rPr>
              <a:t>Organízate</a:t>
            </a:r>
          </a:p>
        </p:txBody>
      </p:sp>
      <p:sp>
        <p:nvSpPr>
          <p:cNvPr id="14" name="Rounded Rectangle 13"/>
          <p:cNvSpPr/>
          <p:nvPr/>
        </p:nvSpPr>
        <p:spPr bwMode="auto">
          <a:xfrm>
            <a:off x="6934200" y="2438400"/>
            <a:ext cx="1905000" cy="914400"/>
          </a:xfrm>
          <a:prstGeom prst="roundRect">
            <a:avLst/>
          </a:prstGeom>
          <a:solidFill>
            <a:srgbClr val="C00000"/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MX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" pitchFamily="34" charset="0"/>
              </a:rPr>
              <a:t>PFAN</a:t>
            </a:r>
          </a:p>
        </p:txBody>
      </p:sp>
      <p:sp>
        <p:nvSpPr>
          <p:cNvPr id="15" name="Rounded Rectangle 14"/>
          <p:cNvSpPr/>
          <p:nvPr/>
        </p:nvSpPr>
        <p:spPr bwMode="auto">
          <a:xfrm>
            <a:off x="3276600" y="5517931"/>
            <a:ext cx="1905000" cy="9144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MX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" pitchFamily="34" charset="0"/>
              </a:rPr>
              <a:t>Guías de Preparación</a:t>
            </a:r>
          </a:p>
        </p:txBody>
      </p:sp>
      <p:sp>
        <p:nvSpPr>
          <p:cNvPr id="16" name="Rounded Rectangle 15"/>
          <p:cNvSpPr/>
          <p:nvPr/>
        </p:nvSpPr>
        <p:spPr bwMode="auto">
          <a:xfrm>
            <a:off x="5791199" y="5562600"/>
            <a:ext cx="2277145" cy="9144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MX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" pitchFamily="34" charset="0"/>
              </a:rPr>
              <a:t>Becas y Financiamiento</a:t>
            </a:r>
          </a:p>
        </p:txBody>
      </p:sp>
      <p:sp>
        <p:nvSpPr>
          <p:cNvPr id="17" name="Rounded Rectangle 16"/>
          <p:cNvSpPr/>
          <p:nvPr/>
        </p:nvSpPr>
        <p:spPr bwMode="auto">
          <a:xfrm>
            <a:off x="6901319" y="4343400"/>
            <a:ext cx="1905000" cy="914400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s-MX" sz="20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" pitchFamily="34" charset="0"/>
              </a:rPr>
              <a:t>Enlace Labor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18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26519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Consultoría</a:t>
            </a:r>
            <a:endParaRPr lang="es-MX" dirty="0"/>
          </a:p>
        </p:txBody>
      </p:sp>
      <p:sp>
        <p:nvSpPr>
          <p:cNvPr id="4" name="TextBox 3"/>
          <p:cNvSpPr txBox="1"/>
          <p:nvPr/>
        </p:nvSpPr>
        <p:spPr>
          <a:xfrm>
            <a:off x="2819400" y="5751493"/>
            <a:ext cx="3352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 smtClean="0"/>
              <a:t>Organizaciones de la Sociedad Civil</a:t>
            </a:r>
            <a:endParaRPr lang="es-MX" sz="28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304800" y="3922693"/>
            <a:ext cx="259080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 smtClean="0"/>
              <a:t>Asistencia Técnica</a:t>
            </a:r>
          </a:p>
          <a:p>
            <a:pPr algn="ctr"/>
            <a:r>
              <a:rPr lang="es-MX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www.muniapp.org</a:t>
            </a:r>
            <a:endParaRPr lang="es-MX" sz="20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15000" y="3864148"/>
            <a:ext cx="3429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 smtClean="0"/>
              <a:t>Empresas</a:t>
            </a:r>
          </a:p>
          <a:p>
            <a:pPr algn="ctr"/>
            <a:r>
              <a:rPr lang="es-MX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www.integrapyme.com.mx</a:t>
            </a:r>
            <a:endParaRPr lang="es-MX" sz="20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4571" y="1371600"/>
            <a:ext cx="2826058" cy="24925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14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A2B92"/>
              </a:clrFrom>
              <a:clrTo>
                <a:srgbClr val="0A2B9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8448" y="3200400"/>
            <a:ext cx="2074703" cy="13656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8" descr="http://2.bp.blogspot.com/_fSQN0-F16Qs/TA0hj0-PN8I/AAAAAAAAAVE/SqqDx74GRBg/s1600/Iniciativa_M_xico_logo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8046" y="4571641"/>
            <a:ext cx="1395505" cy="10801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800" y="1325223"/>
            <a:ext cx="1880548" cy="26307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19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83238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1999" y="1600199"/>
            <a:ext cx="7505245" cy="129540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s-MX" dirty="0" smtClean="0"/>
              <a:t>Desarrollamos el potencial de las personas a través de ambientes digitales de aprendizaje.</a:t>
            </a:r>
            <a:endParaRPr lang="es-MX" dirty="0"/>
          </a:p>
        </p:txBody>
      </p:sp>
      <p:pic>
        <p:nvPicPr>
          <p:cNvPr id="10" name="Picture 6" descr="E:\UV-L01065359\Laboral\Desktop\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07742" y="4597429"/>
            <a:ext cx="2859502" cy="2870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V</a:t>
            </a:r>
            <a:r>
              <a:rPr lang="es-MX" dirty="0" smtClean="0"/>
              <a:t>isión</a:t>
            </a:r>
            <a:endParaRPr lang="es-MX" dirty="0"/>
          </a:p>
        </p:txBody>
      </p:sp>
      <p:pic>
        <p:nvPicPr>
          <p:cNvPr id="9" name="Picture 5" descr="E:\UV-L01065359\Laboral\Desktop\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1742" y="3341853"/>
            <a:ext cx="2819826" cy="283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2</a:t>
            </a:fld>
            <a:endParaRPr lang="es-MX" dirty="0"/>
          </a:p>
        </p:txBody>
      </p:sp>
      <p:pic>
        <p:nvPicPr>
          <p:cNvPr id="12" name="Picture 8" descr="E:\UV-L01065359\Laboral\Desktop\4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8142" y="4627093"/>
            <a:ext cx="2800395" cy="281084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200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964" y="533400"/>
            <a:ext cx="8645236" cy="990600"/>
          </a:xfrm>
        </p:spPr>
        <p:txBody>
          <a:bodyPr>
            <a:noAutofit/>
          </a:bodyPr>
          <a:lstStyle/>
          <a:p>
            <a:r>
              <a:rPr lang="es-MX" sz="3200" dirty="0" smtClean="0"/>
              <a:t>Programa MuniAPP: Fortalecimiento de Municipios para el Desarrollo de Proyectos en Asociación Público - Privada</a:t>
            </a:r>
            <a:endParaRPr lang="es-MX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9382" y="1760949"/>
            <a:ext cx="8655627" cy="4258851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es-MX" dirty="0" err="1" smtClean="0"/>
              <a:t>MuniAPP</a:t>
            </a:r>
            <a:r>
              <a:rPr lang="es-MX" dirty="0" smtClean="0"/>
              <a:t>: Colaboración ITESM – FOMIN / BID ( Julio 2010)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es-MX" dirty="0" smtClean="0"/>
              <a:t>Capacitación, Asistencia técnica, Información, Diseminación de la cultura de la APP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es-MX" dirty="0" smtClean="0"/>
              <a:t>Diseño, desarrollo e impartición del Diplomado en APP</a:t>
            </a:r>
          </a:p>
          <a:p>
            <a:pPr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es-MX" dirty="0" smtClean="0"/>
              <a:t>En preparación dos cursos cortos de acentuación: 1) Modelado económico –financiero y de Valor por Dinero para APP; 2) Proyectos municipales en APP </a:t>
            </a:r>
            <a:endParaRPr lang="es-MX" dirty="0"/>
          </a:p>
          <a:p>
            <a:pPr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es-MX" dirty="0" smtClean="0"/>
              <a:t>Adicionalmente, en colaboración con WBI, están en desarrollo: 1) un nuevo módulo, “Marco jurídico latinoamericano de la APP”; 2)</a:t>
            </a:r>
            <a:r>
              <a:rPr lang="es-MX" dirty="0"/>
              <a:t> </a:t>
            </a:r>
            <a:r>
              <a:rPr lang="es-MX" dirty="0" smtClean="0"/>
              <a:t>el enriquecimiento del módulo de experiencias internacionales con los casos de Perú y Colombia 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20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662134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244" y="2331583"/>
            <a:ext cx="5450962" cy="36120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275918" y="6040433"/>
            <a:ext cx="44864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36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ww.muniapp.org.mx</a:t>
            </a:r>
            <a:endParaRPr lang="es-MX" sz="3600" b="1" dirty="0"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238568" y="2209800"/>
            <a:ext cx="1070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 smtClean="0"/>
              <a:t>Servicios:</a:t>
            </a:r>
            <a:endParaRPr lang="es-MX" dirty="0"/>
          </a:p>
        </p:txBody>
      </p:sp>
      <p:sp>
        <p:nvSpPr>
          <p:cNvPr id="5" name="Rounded Rectangle 4"/>
          <p:cNvSpPr/>
          <p:nvPr/>
        </p:nvSpPr>
        <p:spPr>
          <a:xfrm>
            <a:off x="6238568" y="2669453"/>
            <a:ext cx="2418735" cy="545690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b="1" dirty="0" smtClean="0"/>
              <a:t>Capacitación (cursos y diplomados)</a:t>
            </a:r>
            <a:endParaRPr lang="es-MX" sz="1600" b="1" dirty="0"/>
          </a:p>
        </p:txBody>
      </p:sp>
      <p:sp>
        <p:nvSpPr>
          <p:cNvPr id="28" name="Rounded Rectangle 27"/>
          <p:cNvSpPr/>
          <p:nvPr/>
        </p:nvSpPr>
        <p:spPr>
          <a:xfrm>
            <a:off x="6238568" y="3352781"/>
            <a:ext cx="2418735" cy="545690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b="1" dirty="0" smtClean="0"/>
              <a:t>Asistencia técnica</a:t>
            </a:r>
            <a:endParaRPr lang="es-MX" sz="1600" b="1" dirty="0"/>
          </a:p>
        </p:txBody>
      </p:sp>
      <p:sp>
        <p:nvSpPr>
          <p:cNvPr id="29" name="Rounded Rectangle 28"/>
          <p:cNvSpPr/>
          <p:nvPr/>
        </p:nvSpPr>
        <p:spPr>
          <a:xfrm>
            <a:off x="6238568" y="4036109"/>
            <a:ext cx="2418735" cy="545690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b="1" dirty="0" smtClean="0"/>
              <a:t>Buenas prácticas</a:t>
            </a:r>
            <a:endParaRPr lang="es-MX" sz="1600" b="1" dirty="0"/>
          </a:p>
        </p:txBody>
      </p:sp>
      <p:sp>
        <p:nvSpPr>
          <p:cNvPr id="30" name="Rounded Rectangle 29"/>
          <p:cNvSpPr/>
          <p:nvPr/>
        </p:nvSpPr>
        <p:spPr>
          <a:xfrm>
            <a:off x="6238568" y="4719437"/>
            <a:ext cx="2418735" cy="545690"/>
          </a:xfrm>
          <a:prstGeom prst="roundRect">
            <a:avLst/>
          </a:prstGeom>
          <a:solidFill>
            <a:schemeClr val="accent4">
              <a:lumMod val="50000"/>
            </a:schemeClr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b="1" dirty="0" smtClean="0"/>
              <a:t>Recursos e información relevante</a:t>
            </a:r>
            <a:endParaRPr lang="es-MX" sz="1600" b="1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36993" y="1447800"/>
            <a:ext cx="5530407" cy="6236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50" dirty="0" smtClean="0">
                <a:ln w="3175">
                  <a:noFill/>
                </a:ln>
                <a:gradFill flip="none" rotWithShape="1">
                  <a:gsLst>
                    <a:gs pos="0">
                      <a:srgbClr val="FFFFB9"/>
                    </a:gs>
                    <a:gs pos="36000">
                      <a:srgbClr val="FFFF99"/>
                    </a:gs>
                    <a:gs pos="86000">
                      <a:srgbClr val="F6AE1E"/>
                    </a:gs>
                  </a:gsLst>
                  <a:lin ang="5400000" scaled="0"/>
                  <a:tileRect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Arial" charset="0"/>
              </a:defRPr>
            </a:lvl1pPr>
          </a:lstStyle>
          <a:p>
            <a:r>
              <a:rPr lang="es-MX" sz="26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Centro para el Desarrollo de Infraestructura y Servicios en Asociación Público-Privada</a:t>
            </a:r>
            <a:endParaRPr lang="es-MX" sz="2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1000" y="230188"/>
            <a:ext cx="5857568" cy="997196"/>
          </a:xfrm>
        </p:spPr>
        <p:txBody>
          <a:bodyPr/>
          <a:lstStyle/>
          <a:p>
            <a:r>
              <a:rPr lang="es-MX" sz="3600" dirty="0"/>
              <a:t>Asistencia técnica y comunidad de colaboración y </a:t>
            </a:r>
            <a:r>
              <a:rPr lang="es-MX" sz="3600" dirty="0" smtClean="0"/>
              <a:t>aprendizaje</a:t>
            </a:r>
            <a:endParaRPr lang="es-MX" sz="36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21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9015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15408"/>
            <a:ext cx="7300089" cy="1218795"/>
          </a:xfrm>
        </p:spPr>
        <p:txBody>
          <a:bodyPr/>
          <a:lstStyle/>
          <a:p>
            <a:r>
              <a:rPr lang="es-MX" sz="4400" dirty="0" smtClean="0"/>
              <a:t>Responsabilidad </a:t>
            </a:r>
            <a:r>
              <a:rPr lang="es-MX" sz="4400" dirty="0"/>
              <a:t>Social Empresarial y </a:t>
            </a:r>
            <a:r>
              <a:rPr lang="es-MX" sz="4400" dirty="0" smtClean="0"/>
              <a:t>PYMES</a:t>
            </a:r>
            <a:endParaRPr lang="es-MX" sz="44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7000" y="4600923"/>
            <a:ext cx="2408178" cy="170429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 descr="E:\UV-L01065359\Laboral\Desktop\portada_rse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62164" y="2168550"/>
            <a:ext cx="2290201" cy="1717650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70258" y="4600923"/>
            <a:ext cx="2899951" cy="1709763"/>
          </a:xfrm>
          <a:prstGeom prst="round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566" y="4608731"/>
            <a:ext cx="2286254" cy="1701955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Rounded Rectangle 8"/>
          <p:cNvSpPr/>
          <p:nvPr/>
        </p:nvSpPr>
        <p:spPr>
          <a:xfrm>
            <a:off x="3276600" y="1600200"/>
            <a:ext cx="2819400" cy="359808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10" name="TextBox 9"/>
          <p:cNvSpPr txBox="1"/>
          <p:nvPr/>
        </p:nvSpPr>
        <p:spPr>
          <a:xfrm>
            <a:off x="304800" y="2057400"/>
            <a:ext cx="5637502" cy="1785104"/>
          </a:xfrm>
          <a:prstGeom prst="rect">
            <a:avLst/>
          </a:prstGeom>
          <a:solidFill>
            <a:schemeClr val="tx1">
              <a:alpha val="12000"/>
            </a:schemeClr>
          </a:solidFill>
        </p:spPr>
        <p:txBody>
          <a:bodyPr wrap="square" rtlCol="0">
            <a:spAutoFit/>
          </a:bodyPr>
          <a:lstStyle/>
          <a:p>
            <a:r>
              <a:rPr lang="es-MX" sz="2000" b="1" dirty="0" smtClean="0"/>
              <a:t>Diplomados y cursos </a:t>
            </a:r>
            <a:r>
              <a:rPr lang="es-MX" b="1" dirty="0"/>
              <a:t>innovadores</a:t>
            </a:r>
            <a:r>
              <a:rPr lang="es-MX" dirty="0"/>
              <a:t> </a:t>
            </a:r>
            <a:r>
              <a:rPr lang="es-MX" b="1" dirty="0" smtClean="0"/>
              <a:t>para las PYMES en</a:t>
            </a:r>
            <a:endParaRPr lang="es-MX" dirty="0"/>
          </a:p>
          <a:p>
            <a:pPr marL="285750" indent="-285750">
              <a:buFont typeface="Arial" pitchFamily="34" charset="0"/>
              <a:buChar char="•"/>
            </a:pPr>
            <a:r>
              <a:rPr lang="es-MX" b="1" dirty="0"/>
              <a:t>G</a:t>
            </a:r>
            <a:r>
              <a:rPr lang="es-MX" b="1" dirty="0" smtClean="0"/>
              <a:t>estión </a:t>
            </a:r>
            <a:r>
              <a:rPr lang="es-MX" b="1" dirty="0"/>
              <a:t>administrativ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b="1" dirty="0" smtClean="0"/>
              <a:t>RS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b="1" dirty="0" smtClean="0"/>
              <a:t>Exportación</a:t>
            </a:r>
            <a:endParaRPr lang="es-MX" b="1" dirty="0"/>
          </a:p>
          <a:p>
            <a:r>
              <a:rPr lang="es-MX" dirty="0"/>
              <a:t>que les permitan alcanzar la sustentabilidad en el largo </a:t>
            </a:r>
            <a:r>
              <a:rPr lang="es-MX" dirty="0" smtClean="0"/>
              <a:t>plazo</a:t>
            </a:r>
            <a:endParaRPr lang="es-MX" dirty="0"/>
          </a:p>
        </p:txBody>
      </p:sp>
      <p:sp>
        <p:nvSpPr>
          <p:cNvPr id="11" name="TextBox 10"/>
          <p:cNvSpPr txBox="1"/>
          <p:nvPr/>
        </p:nvSpPr>
        <p:spPr>
          <a:xfrm>
            <a:off x="6713753" y="1799218"/>
            <a:ext cx="19279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/>
              <a:t>RSE – para PYMES</a:t>
            </a:r>
            <a:endParaRPr lang="es-MX" dirty="0"/>
          </a:p>
        </p:txBody>
      </p:sp>
      <p:sp>
        <p:nvSpPr>
          <p:cNvPr id="12" name="TextBox 11"/>
          <p:cNvSpPr txBox="1"/>
          <p:nvPr/>
        </p:nvSpPr>
        <p:spPr>
          <a:xfrm>
            <a:off x="6650400" y="3999131"/>
            <a:ext cx="22347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/>
              <a:t>RSE – para Ejecutivos de grandes empresas</a:t>
            </a:r>
            <a:endParaRPr lang="es-MX" dirty="0"/>
          </a:p>
        </p:txBody>
      </p:sp>
      <p:sp>
        <p:nvSpPr>
          <p:cNvPr id="13" name="TextBox 12"/>
          <p:cNvSpPr txBox="1"/>
          <p:nvPr/>
        </p:nvSpPr>
        <p:spPr>
          <a:xfrm>
            <a:off x="3338518" y="4137630"/>
            <a:ext cx="2563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/>
              <a:t>Para PYMES exportadoras</a:t>
            </a:r>
            <a:endParaRPr lang="es-MX" dirty="0"/>
          </a:p>
        </p:txBody>
      </p:sp>
      <p:sp>
        <p:nvSpPr>
          <p:cNvPr id="14" name="TextBox 13"/>
          <p:cNvSpPr txBox="1"/>
          <p:nvPr/>
        </p:nvSpPr>
        <p:spPr>
          <a:xfrm>
            <a:off x="143042" y="3962400"/>
            <a:ext cx="23715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/>
              <a:t>Para integrar prácticas de RSE en la gestión </a:t>
            </a:r>
            <a:endParaRPr lang="es-MX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2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48757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MX" dirty="0" smtClean="0"/>
              <a:t>www.integrapyme.com.mx</a:t>
            </a:r>
            <a:endParaRPr lang="es-MX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1600" y="1090246"/>
            <a:ext cx="3577037" cy="3154902"/>
          </a:xfrm>
          <a:prstGeom prst="roundRect">
            <a:avLst>
              <a:gd name="adj" fmla="val 7303"/>
            </a:avLst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Rectangle 4"/>
          <p:cNvSpPr/>
          <p:nvPr/>
        </p:nvSpPr>
        <p:spPr>
          <a:xfrm>
            <a:off x="5029200" y="4419600"/>
            <a:ext cx="380563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000" dirty="0"/>
              <a:t>Es un </a:t>
            </a:r>
            <a:r>
              <a:rPr lang="es-ES" sz="2000" b="1" dirty="0" smtClean="0"/>
              <a:t>caja de herramientas virtual </a:t>
            </a:r>
            <a:r>
              <a:rPr lang="es-ES" sz="2000" dirty="0" smtClean="0"/>
              <a:t>que </a:t>
            </a:r>
            <a:r>
              <a:rPr lang="es-ES" sz="2000" dirty="0"/>
              <a:t>ofrece herramientas interactivas, formularios empresariales, capacitación, y artículos relacionados con temas relevantes para </a:t>
            </a:r>
            <a:r>
              <a:rPr lang="es-ES" sz="2000" b="1" dirty="0" smtClean="0"/>
              <a:t>c iniciar, financiar y hacer crecer tu negocio. </a:t>
            </a:r>
            <a:endParaRPr lang="es-ES" sz="2000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600" y="2235669"/>
            <a:ext cx="4445391" cy="4241331"/>
          </a:xfrm>
          <a:prstGeom prst="roundRect">
            <a:avLst>
              <a:gd name="adj" fmla="val 11287"/>
            </a:avLst>
          </a:prstGeom>
        </p:spPr>
      </p:pic>
      <p:sp>
        <p:nvSpPr>
          <p:cNvPr id="8" name="TextBox 7"/>
          <p:cNvSpPr txBox="1"/>
          <p:nvPr/>
        </p:nvSpPr>
        <p:spPr>
          <a:xfrm>
            <a:off x="457200" y="1186375"/>
            <a:ext cx="4114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400" dirty="0" smtClean="0"/>
              <a:t>Servicios que ofrecemos a través de </a:t>
            </a:r>
            <a:r>
              <a:rPr lang="es-MX" sz="2400" i="1" dirty="0" smtClean="0"/>
              <a:t>integrapyme</a:t>
            </a:r>
            <a:endParaRPr lang="es-MX" sz="2400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23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3021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Congresos, seminarios y webinars</a:t>
            </a:r>
            <a:endParaRPr lang="es-MX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1143000"/>
            <a:ext cx="76648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400" b="1" dirty="0" smtClean="0"/>
              <a:t>Congreso de Educación Formando Formadores </a:t>
            </a:r>
            <a:r>
              <a:rPr lang="es-MX" sz="2400" b="1" i="1" dirty="0" smtClean="0"/>
              <a:t>Hay Talento</a:t>
            </a:r>
            <a:endParaRPr lang="es-MX" sz="2400" b="1" i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1676400"/>
            <a:ext cx="7310965" cy="1676400"/>
          </a:xfrm>
          <a:prstGeom prst="rect">
            <a:avLst/>
          </a:prstGeom>
        </p:spPr>
      </p:pic>
      <p:pic>
        <p:nvPicPr>
          <p:cNvPr id="6146" name="Picture 2" descr="http://www.cca.org.mx/lideres/congresohemisferico/images/congresogrupo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2116" y="4114800"/>
            <a:ext cx="4554370" cy="23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59049" y="3576935"/>
            <a:ext cx="73548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400" b="1" dirty="0" smtClean="0"/>
              <a:t>6to. Congreso Hemisférico de Fundraising Latinoamérica</a:t>
            </a:r>
            <a:endParaRPr lang="es-MX" sz="24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24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09815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28399" y="1078859"/>
            <a:ext cx="1232339" cy="1243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6585" y="1078859"/>
            <a:ext cx="1212411" cy="1223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7287" y="5400541"/>
            <a:ext cx="1871007" cy="8136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2325" y="5274515"/>
            <a:ext cx="2264486" cy="936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1862" y="2630115"/>
            <a:ext cx="1627407" cy="1345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8531" y="1398587"/>
            <a:ext cx="2274069" cy="837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8935" y="3887178"/>
            <a:ext cx="2611266" cy="974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6747" y="4370387"/>
            <a:ext cx="1417637" cy="1497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3827" y="4070053"/>
            <a:ext cx="1517927" cy="100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3"/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919"/>
          <a:stretch/>
        </p:blipFill>
        <p:spPr bwMode="auto">
          <a:xfrm>
            <a:off x="1003710" y="2622488"/>
            <a:ext cx="1638160" cy="1127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26137" y="2734790"/>
            <a:ext cx="2836863" cy="739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81000" y="284202"/>
            <a:ext cx="8382000" cy="553998"/>
          </a:xfrm>
        </p:spPr>
        <p:txBody>
          <a:bodyPr/>
          <a:lstStyle/>
          <a:p>
            <a:r>
              <a:rPr lang="es-MX" sz="4000" dirty="0" smtClean="0"/>
              <a:t>Colaboraciones estratégicas</a:t>
            </a:r>
            <a:endParaRPr lang="es-MX" sz="4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25</a:t>
            </a:fld>
            <a:endParaRPr lang="es-MX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304800" y="6248400"/>
            <a:ext cx="838200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50" dirty="0" smtClean="0">
                <a:ln w="3175">
                  <a:noFill/>
                </a:ln>
                <a:gradFill flip="none" rotWithShape="1">
                  <a:gsLst>
                    <a:gs pos="0">
                      <a:srgbClr val="FFFFB9"/>
                    </a:gs>
                    <a:gs pos="36000">
                      <a:srgbClr val="FFFF99"/>
                    </a:gs>
                    <a:gs pos="86000">
                      <a:srgbClr val="F6AE1E"/>
                    </a:gs>
                  </a:gsLst>
                  <a:lin ang="5400000" scaled="0"/>
                  <a:tileRect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Arial" charset="0"/>
              </a:defRPr>
            </a:lvl1pPr>
          </a:lstStyle>
          <a:p>
            <a:r>
              <a:rPr lang="es-MX" sz="4000" dirty="0" smtClean="0"/>
              <a:t>… por mencionar algunas.</a:t>
            </a:r>
            <a:endParaRPr lang="es-MX" sz="4000" dirty="0"/>
          </a:p>
        </p:txBody>
      </p:sp>
    </p:spTree>
    <p:extLst>
      <p:ext uri="{BB962C8B-B14F-4D97-AF65-F5344CB8AC3E}">
        <p14:creationId xmlns:p14="http://schemas.microsoft.com/office/powerpoint/2010/main" val="419836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2971800"/>
            <a:ext cx="1747837" cy="1228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1283732"/>
            <a:ext cx="1212850" cy="121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2551878" y="1725900"/>
            <a:ext cx="60587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Roundtable on Innovations in Scaling Up Urban Capacity </a:t>
            </a:r>
            <a:r>
              <a:rPr lang="en-US" sz="2400" b="1" dirty="0" smtClean="0"/>
              <a:t>Development</a:t>
            </a:r>
            <a:endParaRPr lang="es-MX" sz="2400" b="1" dirty="0"/>
          </a:p>
        </p:txBody>
      </p:sp>
      <p:sp>
        <p:nvSpPr>
          <p:cNvPr id="6" name="Rectangle 5"/>
          <p:cNvSpPr/>
          <p:nvPr/>
        </p:nvSpPr>
        <p:spPr>
          <a:xfrm>
            <a:off x="2551878" y="3244334"/>
            <a:ext cx="55899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/>
              <a:t>LAC’s Long-Term Growth: Made in China?, </a:t>
            </a:r>
            <a:endParaRPr lang="es-MX" sz="2400" b="1" dirty="0"/>
          </a:p>
        </p:txBody>
      </p:sp>
      <p:sp>
        <p:nvSpPr>
          <p:cNvPr id="7" name="Rectangle 6"/>
          <p:cNvSpPr/>
          <p:nvPr/>
        </p:nvSpPr>
        <p:spPr>
          <a:xfrm>
            <a:off x="2551878" y="4200525"/>
            <a:ext cx="6096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Financing Growth: Improving the Investment Environment through Infrastructure Development</a:t>
            </a:r>
            <a:endParaRPr lang="es-MX" sz="2400" b="1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8382000" cy="553998"/>
          </a:xfrm>
        </p:spPr>
        <p:txBody>
          <a:bodyPr/>
          <a:lstStyle/>
          <a:p>
            <a:r>
              <a:rPr lang="es-MX" sz="4000" dirty="0" smtClean="0"/>
              <a:t>Colaboraciones estratégicas y publicaciones</a:t>
            </a:r>
            <a:endParaRPr lang="es-MX" sz="4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26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0500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81000" y="230188"/>
            <a:ext cx="8382000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50" dirty="0" smtClean="0">
                <a:ln w="3175">
                  <a:noFill/>
                </a:ln>
                <a:gradFill flip="none" rotWithShape="1">
                  <a:gsLst>
                    <a:gs pos="0">
                      <a:srgbClr val="FFFFB9"/>
                    </a:gs>
                    <a:gs pos="36000">
                      <a:srgbClr val="FFFF99"/>
                    </a:gs>
                    <a:gs pos="86000">
                      <a:srgbClr val="F6AE1E"/>
                    </a:gs>
                  </a:gsLst>
                  <a:lin ang="5400000" scaled="0"/>
                  <a:tileRect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n-ea"/>
                <a:cs typeface="Arial" charset="0"/>
              </a:defRPr>
            </a:lvl1pPr>
          </a:lstStyle>
          <a:p>
            <a:r>
              <a:rPr lang="es-MX" dirty="0" smtClean="0"/>
              <a:t>Desarrollo de recursos abiertos CCA</a:t>
            </a:r>
            <a:endParaRPr lang="es-MX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1030" y="2885951"/>
            <a:ext cx="4979370" cy="3514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07158" y="1143000"/>
            <a:ext cx="79748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MX" sz="2800" dirty="0" smtClean="0"/>
              <a:t>Mas de 100 cursos gratuito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sz="2800" dirty="0" smtClean="0"/>
              <a:t>Mas de 500 recursos abiertos (PDFs, ligas de interés, documentos, videos, entre otros)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27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10125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www.cca.org.mx</a:t>
            </a:r>
            <a:endParaRPr lang="es-MX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9252" y="1584683"/>
            <a:ext cx="2143125" cy="834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63806" y="1603310"/>
            <a:ext cx="2143125" cy="796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62152" y="1584683"/>
            <a:ext cx="2143125" cy="804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39886" y="2646384"/>
            <a:ext cx="23464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b="1" dirty="0" smtClean="0"/>
              <a:t>Programas educativos:</a:t>
            </a:r>
            <a:endParaRPr lang="es-MX" b="1" dirty="0"/>
          </a:p>
        </p:txBody>
      </p:sp>
      <p:pic>
        <p:nvPicPr>
          <p:cNvPr id="3078" name="Picture 6" descr="Tecnología Informática">
            <a:hlinkClick r:id="rId6" tooltip="Tecnología Informática"/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1089" y="3259809"/>
            <a:ext cx="1076325" cy="1110476"/>
          </a:xfrm>
          <a:prstGeom prst="rect">
            <a:avLst/>
          </a:prstGeom>
          <a:noFill/>
          <a:effectLst>
            <a:glow rad="2286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Latinos en E.U.A.">
            <a:hlinkClick r:id="rId8" tooltip="Latinos en E.U.A."/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60043" y="3259809"/>
            <a:ext cx="1076325" cy="1110476"/>
          </a:xfrm>
          <a:prstGeom prst="rect">
            <a:avLst/>
          </a:prstGeom>
          <a:noFill/>
          <a:effectLst>
            <a:glow rad="2286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Negocios">
            <a:hlinkClick r:id="rId10" tooltip="Negocios"/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21659" y="3259809"/>
            <a:ext cx="1076325" cy="1110914"/>
          </a:xfrm>
          <a:prstGeom prst="rect">
            <a:avLst/>
          </a:prstGeom>
          <a:noFill/>
          <a:effectLst>
            <a:glow rad="2286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83764" y="4577194"/>
            <a:ext cx="3357287" cy="2089071"/>
            <a:chOff x="223684" y="4607539"/>
            <a:chExt cx="3616653" cy="2250461"/>
          </a:xfrm>
        </p:grpSpPr>
        <p:pic>
          <p:nvPicPr>
            <p:cNvPr id="3084" name="Picture 12" descr="Educación">
              <a:hlinkClick r:id="rId12" tooltip="Educación"/>
            </p:cNvPr>
            <p:cNvPicPr>
              <a:picLocks noChangeAspect="1" noChangeArrowheads="1"/>
            </p:cNvPicPr>
            <p:nvPr/>
          </p:nvPicPr>
          <p:blipFill rotWithShape="1"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39886" y="4607539"/>
              <a:ext cx="1076325" cy="1085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6" name="Picture 14" descr="Cultura de la Salud">
              <a:hlinkClick r:id="rId14" tooltip="Cultura de la Salud"/>
            </p:cNvPr>
            <p:cNvPicPr>
              <a:picLocks noChangeAspect="1" noChangeArrowheads="1"/>
            </p:cNvPicPr>
            <p:nvPr/>
          </p:nvPicPr>
          <p:blipFill rotWithShape="1"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511131" y="4607539"/>
              <a:ext cx="1076325" cy="1085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8" name="Picture 16" descr="Sociedad">
              <a:hlinkClick r:id="rId16" tooltip="Sociedad"/>
            </p:cNvPr>
            <p:cNvPicPr>
              <a:picLocks noChangeAspect="1" noChangeArrowheads="1"/>
            </p:cNvPicPr>
            <p:nvPr/>
          </p:nvPicPr>
          <p:blipFill rotWithShape="1"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764012" y="4607539"/>
              <a:ext cx="1076325" cy="1085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0" name="Picture 18" descr="Periodismo">
              <a:hlinkClick r:id="rId18" tooltip="Periodismo"/>
            </p:cNvPr>
            <p:cNvPicPr>
              <a:picLocks noChangeAspect="1" noChangeArrowheads="1"/>
            </p:cNvPicPr>
            <p:nvPr/>
          </p:nvPicPr>
          <p:blipFill rotWithShape="1"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3684" y="5772662"/>
              <a:ext cx="1076325" cy="1085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2" name="Picture 20" descr="Responsabilidad Social">
              <a:hlinkClick r:id="rId20" tooltip="Responsabilidad Social"/>
            </p:cNvPr>
            <p:cNvPicPr>
              <a:picLocks noChangeAspect="1" noChangeArrowheads="1"/>
            </p:cNvPicPr>
            <p:nvPr/>
          </p:nvPicPr>
          <p:blipFill rotWithShape="1"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541049" y="5772662"/>
              <a:ext cx="1076325" cy="1085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4" name="Picture 22" descr="Administración Pública">
              <a:hlinkClick r:id="rId22" tooltip="Administración Pública"/>
            </p:cNvPr>
            <p:cNvPicPr>
              <a:picLocks noChangeAspect="1" noChangeArrowheads="1"/>
            </p:cNvPicPr>
            <p:nvPr/>
          </p:nvPicPr>
          <p:blipFill rotWithShape="1"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764011" y="5772662"/>
              <a:ext cx="1076325" cy="1085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/>
          <p:cNvGrpSpPr/>
          <p:nvPr/>
        </p:nvGrpSpPr>
        <p:grpSpPr>
          <a:xfrm>
            <a:off x="3923408" y="3290779"/>
            <a:ext cx="1919339" cy="2084909"/>
            <a:chOff x="3831968" y="3449966"/>
            <a:chExt cx="2255428" cy="2449990"/>
          </a:xfrm>
        </p:grpSpPr>
        <p:pic>
          <p:nvPicPr>
            <p:cNvPr id="3096" name="Picture 24" descr="Blogs">
              <a:hlinkClick r:id="rId24" tooltip="Blogs"/>
            </p:cNvPr>
            <p:cNvPicPr>
              <a:picLocks noChangeAspect="1" noChangeArrowheads="1"/>
            </p:cNvPicPr>
            <p:nvPr/>
          </p:nvPicPr>
          <p:blipFill rotWithShape="1"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831968" y="3456192"/>
              <a:ext cx="1076325" cy="10554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8" name="Picture 26" descr="Correo Electrónico">
              <a:hlinkClick r:id="rId26" tooltip="Correo Electrónico"/>
            </p:cNvPr>
            <p:cNvPicPr>
              <a:picLocks noChangeAspect="1" noChangeArrowheads="1"/>
            </p:cNvPicPr>
            <p:nvPr/>
          </p:nvPicPr>
          <p:blipFill rotWithShape="1"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999551" y="3449966"/>
              <a:ext cx="1076325" cy="1061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00" name="Picture 28" descr="Mensajería Instantánea">
              <a:hlinkClick r:id="rId28" tooltip="Mensajería Instantánea"/>
            </p:cNvPr>
            <p:cNvPicPr>
              <a:picLocks noChangeAspect="1" noChangeArrowheads="1"/>
            </p:cNvPicPr>
            <p:nvPr/>
          </p:nvPicPr>
          <p:blipFill rotWithShape="1"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011071" y="4789480"/>
              <a:ext cx="1076325" cy="11104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02" name="Picture 30" descr="Redes Sociales">
              <a:hlinkClick r:id="rId30" tooltip="Redes Sociales"/>
            </p:cNvPr>
            <p:cNvPicPr>
              <a:picLocks noChangeAspect="1" noChangeArrowheads="1"/>
            </p:cNvPicPr>
            <p:nvPr/>
          </p:nvPicPr>
          <p:blipFill rotWithShape="1"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831968" y="4774732"/>
              <a:ext cx="1076325" cy="10734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104" name="Picture 32" descr="Buscadores"/>
          <p:cNvPicPr>
            <a:picLocks noChangeAspect="1" noChangeArrowheads="1"/>
          </p:cNvPicPr>
          <p:nvPr/>
        </p:nvPicPr>
        <p:blipFill rotWithShape="1"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24509" y="3249069"/>
            <a:ext cx="818413" cy="908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6" name="Picture 34" descr="Diccionarios"/>
          <p:cNvPicPr>
            <a:picLocks noChangeAspect="1" noChangeArrowheads="1"/>
          </p:cNvPicPr>
          <p:nvPr/>
        </p:nvPicPr>
        <p:blipFill rotWithShape="1"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24509" y="5336873"/>
            <a:ext cx="818413" cy="932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8" name="Picture 36" descr="Enciclopedias"/>
          <p:cNvPicPr>
            <a:picLocks noChangeAspect="1" noChangeArrowheads="1"/>
          </p:cNvPicPr>
          <p:nvPr/>
        </p:nvPicPr>
        <p:blipFill rotWithShape="1"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24509" y="4300941"/>
            <a:ext cx="818413" cy="837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0" name="Picture 38" descr="Periódicos"/>
          <p:cNvPicPr>
            <a:picLocks noChangeAspect="1" noChangeArrowheads="1"/>
          </p:cNvPicPr>
          <p:nvPr/>
        </p:nvPicPr>
        <p:blipFill rotWithShape="1"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49386" y="3255953"/>
            <a:ext cx="818413" cy="90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2" name="Picture 40" descr="Revistas"/>
          <p:cNvPicPr>
            <a:picLocks noChangeAspect="1" noChangeArrowheads="1"/>
          </p:cNvPicPr>
          <p:nvPr/>
        </p:nvPicPr>
        <p:blipFill rotWithShape="1"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49386" y="4275697"/>
            <a:ext cx="818413" cy="869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4" name="Picture 42" descr="Traductores"/>
          <p:cNvPicPr>
            <a:picLocks noChangeAspect="1" noChangeArrowheads="1"/>
          </p:cNvPicPr>
          <p:nvPr/>
        </p:nvPicPr>
        <p:blipFill rotWithShape="1"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15089" y="3245488"/>
            <a:ext cx="818413" cy="848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6" name="Picture 44" descr="Noticieros"/>
          <p:cNvPicPr>
            <a:picLocks noChangeAspect="1" noChangeArrowheads="1"/>
          </p:cNvPicPr>
          <p:nvPr/>
        </p:nvPicPr>
        <p:blipFill rotWithShape="1"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15088" y="4312515"/>
            <a:ext cx="818413" cy="779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28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981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TextBox 412"/>
          <p:cNvSpPr txBox="1"/>
          <p:nvPr/>
        </p:nvSpPr>
        <p:spPr>
          <a:xfrm>
            <a:off x="797328" y="1524000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 smtClean="0">
                <a:solidFill>
                  <a:srgbClr val="FFC000"/>
                </a:solidFill>
              </a:rPr>
              <a:t>1997</a:t>
            </a:r>
            <a:endParaRPr lang="es-MX" b="1" dirty="0">
              <a:solidFill>
                <a:srgbClr val="FFC000"/>
              </a:solidFill>
            </a:endParaRPr>
          </a:p>
        </p:txBody>
      </p:sp>
      <p:sp>
        <p:nvSpPr>
          <p:cNvPr id="414" name="TextBox 413"/>
          <p:cNvSpPr txBox="1"/>
          <p:nvPr/>
        </p:nvSpPr>
        <p:spPr>
          <a:xfrm>
            <a:off x="2997772" y="1524000"/>
            <a:ext cx="6527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 smtClean="0">
                <a:solidFill>
                  <a:srgbClr val="FFC000"/>
                </a:solidFill>
              </a:rPr>
              <a:t>2000</a:t>
            </a:r>
            <a:endParaRPr lang="es-MX" b="1" dirty="0">
              <a:solidFill>
                <a:srgbClr val="FFC000"/>
              </a:solidFill>
            </a:endParaRPr>
          </a:p>
        </p:txBody>
      </p:sp>
      <p:sp>
        <p:nvSpPr>
          <p:cNvPr id="415" name="TextBox 414"/>
          <p:cNvSpPr txBox="1"/>
          <p:nvPr/>
        </p:nvSpPr>
        <p:spPr>
          <a:xfrm>
            <a:off x="5214656" y="1524000"/>
            <a:ext cx="6527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 smtClean="0">
                <a:solidFill>
                  <a:srgbClr val="FFC000"/>
                </a:solidFill>
              </a:rPr>
              <a:t>2005</a:t>
            </a:r>
            <a:endParaRPr lang="es-MX" b="1" dirty="0">
              <a:solidFill>
                <a:srgbClr val="FFC000"/>
              </a:solidFill>
            </a:endParaRPr>
          </a:p>
        </p:txBody>
      </p:sp>
      <p:sp>
        <p:nvSpPr>
          <p:cNvPr id="416" name="TextBox 415"/>
          <p:cNvSpPr txBox="1"/>
          <p:nvPr/>
        </p:nvSpPr>
        <p:spPr>
          <a:xfrm>
            <a:off x="7576856" y="1524000"/>
            <a:ext cx="6527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 smtClean="0">
                <a:solidFill>
                  <a:srgbClr val="FFC000"/>
                </a:solidFill>
              </a:rPr>
              <a:t>2012</a:t>
            </a:r>
            <a:endParaRPr lang="es-MX" b="1" dirty="0">
              <a:solidFill>
                <a:srgbClr val="FFC000"/>
              </a:solidFill>
            </a:endParaRPr>
          </a:p>
        </p:txBody>
      </p:sp>
      <p:sp>
        <p:nvSpPr>
          <p:cNvPr id="417" name="TextBox 416"/>
          <p:cNvSpPr txBox="1"/>
          <p:nvPr/>
        </p:nvSpPr>
        <p:spPr>
          <a:xfrm>
            <a:off x="373963" y="5754469"/>
            <a:ext cx="19882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/>
              <a:t>5</a:t>
            </a:r>
            <a:r>
              <a:rPr lang="es-MX" b="1" dirty="0" smtClean="0"/>
              <a:t> países</a:t>
            </a:r>
          </a:p>
          <a:p>
            <a:pPr algn="ctr"/>
            <a:r>
              <a:rPr lang="es-MX" b="1" dirty="0" smtClean="0"/>
              <a:t>4,090</a:t>
            </a:r>
            <a:r>
              <a:rPr lang="es-MX" dirty="0" smtClean="0"/>
              <a:t> participantes</a:t>
            </a:r>
            <a:endParaRPr lang="es-MX" dirty="0"/>
          </a:p>
        </p:txBody>
      </p:sp>
      <p:sp>
        <p:nvSpPr>
          <p:cNvPr id="418" name="TextBox 417"/>
          <p:cNvSpPr txBox="1"/>
          <p:nvPr/>
        </p:nvSpPr>
        <p:spPr>
          <a:xfrm>
            <a:off x="2532292" y="5754469"/>
            <a:ext cx="21052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 smtClean="0"/>
              <a:t>16 países</a:t>
            </a:r>
          </a:p>
          <a:p>
            <a:pPr algn="ctr"/>
            <a:r>
              <a:rPr lang="es-MX" b="1" dirty="0" smtClean="0"/>
              <a:t>31,929</a:t>
            </a:r>
            <a:r>
              <a:rPr lang="es-MX" dirty="0" smtClean="0"/>
              <a:t> participantes</a:t>
            </a:r>
            <a:endParaRPr lang="es-MX" dirty="0"/>
          </a:p>
        </p:txBody>
      </p:sp>
      <p:sp>
        <p:nvSpPr>
          <p:cNvPr id="419" name="TextBox 418"/>
          <p:cNvSpPr txBox="1"/>
          <p:nvPr/>
        </p:nvSpPr>
        <p:spPr>
          <a:xfrm>
            <a:off x="4749129" y="5754469"/>
            <a:ext cx="21052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 smtClean="0"/>
              <a:t>23 países</a:t>
            </a:r>
          </a:p>
          <a:p>
            <a:pPr algn="ctr"/>
            <a:r>
              <a:rPr lang="es-MX" b="1" dirty="0" smtClean="0"/>
              <a:t>82,996</a:t>
            </a:r>
            <a:r>
              <a:rPr lang="es-MX" dirty="0" smtClean="0"/>
              <a:t> participantes</a:t>
            </a:r>
            <a:endParaRPr lang="es-MX" dirty="0"/>
          </a:p>
        </p:txBody>
      </p:sp>
      <p:sp>
        <p:nvSpPr>
          <p:cNvPr id="420" name="TextBox 419"/>
          <p:cNvSpPr txBox="1"/>
          <p:nvPr/>
        </p:nvSpPr>
        <p:spPr>
          <a:xfrm>
            <a:off x="6907457" y="5754469"/>
            <a:ext cx="22222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 smtClean="0"/>
              <a:t>26 países</a:t>
            </a:r>
          </a:p>
          <a:p>
            <a:pPr algn="ctr"/>
            <a:r>
              <a:rPr lang="es-MX" b="1" dirty="0" smtClean="0"/>
              <a:t>208,031 </a:t>
            </a:r>
            <a:r>
              <a:rPr lang="es-MX" dirty="0" smtClean="0"/>
              <a:t>participantes</a:t>
            </a:r>
            <a:endParaRPr lang="es-MX" dirty="0"/>
          </a:p>
        </p:txBody>
      </p:sp>
      <p:grpSp>
        <p:nvGrpSpPr>
          <p:cNvPr id="1339" name="Group 1338"/>
          <p:cNvGrpSpPr>
            <a:grpSpLocks/>
          </p:cNvGrpSpPr>
          <p:nvPr/>
        </p:nvGrpSpPr>
        <p:grpSpPr bwMode="auto">
          <a:xfrm>
            <a:off x="6734312" y="2133600"/>
            <a:ext cx="2240810" cy="3482781"/>
            <a:chOff x="5868471" y="1124744"/>
            <a:chExt cx="3096017" cy="4810948"/>
          </a:xfrm>
          <a:solidFill>
            <a:sysClr val="window" lastClr="FFFFFF">
              <a:lumMod val="95000"/>
            </a:sysClr>
          </a:solidFill>
        </p:grpSpPr>
        <p:sp>
          <p:nvSpPr>
            <p:cNvPr id="1340" name="Freeform 4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8181015" y="5863994"/>
              <a:ext cx="41864" cy="64528"/>
            </a:xfrm>
            <a:custGeom>
              <a:avLst/>
              <a:gdLst>
                <a:gd name="T0" fmla="*/ 0 w 73"/>
                <a:gd name="T1" fmla="*/ 0 h 20"/>
                <a:gd name="T2" fmla="*/ 188447642 w 73"/>
                <a:gd name="T3" fmla="*/ 2147483647 h 20"/>
                <a:gd name="T4" fmla="*/ 754447775 w 73"/>
                <a:gd name="T5" fmla="*/ 2147483647 h 20"/>
                <a:gd name="T6" fmla="*/ 1508895550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41" name="Freeform 5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868471" y="1461725"/>
              <a:ext cx="984825" cy="503680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646514735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1872592170 h 850"/>
                <a:gd name="T92" fmla="*/ 2147483647 w 1808"/>
                <a:gd name="T93" fmla="*/ 416092418 h 850"/>
                <a:gd name="T94" fmla="*/ 2147483647 w 1808"/>
                <a:gd name="T95" fmla="*/ 2080813482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42" name="Freeform 6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6446607" y="2157198"/>
              <a:ext cx="1734408" cy="869341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4FD1FF"/>
            </a:solidFill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43" name="Freeform 7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7493232" y="3908426"/>
              <a:ext cx="426624" cy="666793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094708059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1032923834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44" name="Freeform 8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7870017" y="4544747"/>
              <a:ext cx="328939" cy="1276228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45" name="Freeform 9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7750403" y="3734558"/>
              <a:ext cx="1214085" cy="1358681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46" name="Freeform 25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8202943" y="5871164"/>
              <a:ext cx="29904" cy="64528"/>
            </a:xfrm>
            <a:custGeom>
              <a:avLst/>
              <a:gdLst>
                <a:gd name="T0" fmla="*/ 0 w 53"/>
                <a:gd name="T1" fmla="*/ 2147483647 h 19"/>
                <a:gd name="T2" fmla="*/ 1257488026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1257488026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47" name="Freeform 29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7909889" y="2447575"/>
              <a:ext cx="61800" cy="64528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1680051761 w 112"/>
                <a:gd name="T41" fmla="*/ 2147483647 h 36"/>
                <a:gd name="T42" fmla="*/ 1008092084 w 112"/>
                <a:gd name="T43" fmla="*/ 2147483647 h 36"/>
                <a:gd name="T44" fmla="*/ 168066204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48" name="Freeform 41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7973683" y="3263143"/>
              <a:ext cx="39871" cy="66320"/>
            </a:xfrm>
            <a:custGeom>
              <a:avLst/>
              <a:gdLst>
                <a:gd name="T0" fmla="*/ 0 w 80"/>
                <a:gd name="T1" fmla="*/ 2147483647 h 34"/>
                <a:gd name="T2" fmla="*/ 123698282 w 80"/>
                <a:gd name="T3" fmla="*/ 2147483647 h 34"/>
                <a:gd name="T4" fmla="*/ 247644762 w 80"/>
                <a:gd name="T5" fmla="*/ 2147483647 h 34"/>
                <a:gd name="T6" fmla="*/ 495290022 w 80"/>
                <a:gd name="T7" fmla="*/ 2147483647 h 34"/>
                <a:gd name="T8" fmla="*/ 866633066 w 80"/>
                <a:gd name="T9" fmla="*/ 2147483647 h 34"/>
                <a:gd name="T10" fmla="*/ 1609319652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1609319652 w 80"/>
                <a:gd name="T51" fmla="*/ 2147483647 h 34"/>
                <a:gd name="T52" fmla="*/ 866633066 w 80"/>
                <a:gd name="T53" fmla="*/ 2147483647 h 34"/>
                <a:gd name="T54" fmla="*/ 495290022 w 80"/>
                <a:gd name="T55" fmla="*/ 2147483647 h 34"/>
                <a:gd name="T56" fmla="*/ 247644762 w 80"/>
                <a:gd name="T57" fmla="*/ 2147483647 h 34"/>
                <a:gd name="T58" fmla="*/ 123698282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4FD1FF"/>
            </a:solidFill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49" name="Freeform 55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8111897" y="3539969"/>
              <a:ext cx="29263" cy="65013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50" name="Freeform 56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8137908" y="3513964"/>
              <a:ext cx="16258" cy="65013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51" name="Freeform 57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7487639" y="3143391"/>
              <a:ext cx="19508" cy="65013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52" name="Freeform 162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7862043" y="4268709"/>
              <a:ext cx="412669" cy="469623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618341085 h 795"/>
                <a:gd name="T112" fmla="*/ 2147483647 w 758"/>
                <a:gd name="T113" fmla="*/ 618341085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53" name="Freeform 163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8131175" y="3625219"/>
              <a:ext cx="149519" cy="243774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1020732377 h 414"/>
                <a:gd name="T28" fmla="*/ 2147483647 w 273"/>
                <a:gd name="T29" fmla="*/ 1429163938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657218706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54" name="Freeform 165"/>
            <p:cNvSpPr>
              <a:spLocks/>
            </p:cNvSpPr>
            <p:nvPr/>
          </p:nvSpPr>
          <p:spPr bwMode="auto">
            <a:xfrm>
              <a:off x="8027362" y="3517215"/>
              <a:ext cx="29263" cy="13003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55" name="Freeform 166"/>
            <p:cNvSpPr>
              <a:spLocks/>
            </p:cNvSpPr>
            <p:nvPr/>
          </p:nvSpPr>
          <p:spPr bwMode="auto">
            <a:xfrm>
              <a:off x="7838784" y="3439200"/>
              <a:ext cx="3252" cy="13003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56" name="Freeform 167"/>
            <p:cNvSpPr>
              <a:spLocks/>
            </p:cNvSpPr>
            <p:nvPr/>
          </p:nvSpPr>
          <p:spPr bwMode="auto">
            <a:xfrm>
              <a:off x="7890806" y="3484709"/>
              <a:ext cx="13005" cy="6501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57" name="Freeform 168"/>
            <p:cNvSpPr>
              <a:spLocks/>
            </p:cNvSpPr>
            <p:nvPr/>
          </p:nvSpPr>
          <p:spPr bwMode="auto">
            <a:xfrm>
              <a:off x="7772332" y="3495490"/>
              <a:ext cx="406689" cy="396804"/>
            </a:xfrm>
            <a:custGeom>
              <a:avLst/>
              <a:gdLst>
                <a:gd name="T0" fmla="*/ 1475848108 w 743"/>
                <a:gd name="T1" fmla="*/ 2147483647 h 672"/>
                <a:gd name="T2" fmla="*/ 2147483647 w 743"/>
                <a:gd name="T3" fmla="*/ 2147483647 h 672"/>
                <a:gd name="T4" fmla="*/ 2147483647 w 743"/>
                <a:gd name="T5" fmla="*/ 2147483647 h 672"/>
                <a:gd name="T6" fmla="*/ 2147483647 w 743"/>
                <a:gd name="T7" fmla="*/ 2147483647 h 672"/>
                <a:gd name="T8" fmla="*/ 2147483647 w 743"/>
                <a:gd name="T9" fmla="*/ 2147483647 h 672"/>
                <a:gd name="T10" fmla="*/ 2147483647 w 743"/>
                <a:gd name="T11" fmla="*/ 2147483647 h 672"/>
                <a:gd name="T12" fmla="*/ 2147483647 w 743"/>
                <a:gd name="T13" fmla="*/ 2147483647 h 672"/>
                <a:gd name="T14" fmla="*/ 2147483647 w 743"/>
                <a:gd name="T15" fmla="*/ 2147483647 h 672"/>
                <a:gd name="T16" fmla="*/ 2147483647 w 743"/>
                <a:gd name="T17" fmla="*/ 2147483647 h 672"/>
                <a:gd name="T18" fmla="*/ 2147483647 w 743"/>
                <a:gd name="T19" fmla="*/ 2147483647 h 672"/>
                <a:gd name="T20" fmla="*/ 2147483647 w 743"/>
                <a:gd name="T21" fmla="*/ 2147483647 h 672"/>
                <a:gd name="T22" fmla="*/ 2147483647 w 743"/>
                <a:gd name="T23" fmla="*/ 2147483647 h 672"/>
                <a:gd name="T24" fmla="*/ 2147483647 w 743"/>
                <a:gd name="T25" fmla="*/ 2147483647 h 672"/>
                <a:gd name="T26" fmla="*/ 2147483647 w 743"/>
                <a:gd name="T27" fmla="*/ 2147483647 h 672"/>
                <a:gd name="T28" fmla="*/ 2147483647 w 743"/>
                <a:gd name="T29" fmla="*/ 2147483647 h 672"/>
                <a:gd name="T30" fmla="*/ 2147483647 w 743"/>
                <a:gd name="T31" fmla="*/ 2147483647 h 672"/>
                <a:gd name="T32" fmla="*/ 2147483647 w 743"/>
                <a:gd name="T33" fmla="*/ 2147483647 h 672"/>
                <a:gd name="T34" fmla="*/ 2147483647 w 743"/>
                <a:gd name="T35" fmla="*/ 2147483647 h 672"/>
                <a:gd name="T36" fmla="*/ 2147483647 w 743"/>
                <a:gd name="T37" fmla="*/ 2147483647 h 672"/>
                <a:gd name="T38" fmla="*/ 2147483647 w 743"/>
                <a:gd name="T39" fmla="*/ 2147483647 h 672"/>
                <a:gd name="T40" fmla="*/ 2147483647 w 743"/>
                <a:gd name="T41" fmla="*/ 2147483647 h 672"/>
                <a:gd name="T42" fmla="*/ 2147483647 w 743"/>
                <a:gd name="T43" fmla="*/ 2147483647 h 672"/>
                <a:gd name="T44" fmla="*/ 2147483647 w 743"/>
                <a:gd name="T45" fmla="*/ 2147483647 h 672"/>
                <a:gd name="T46" fmla="*/ 2147483647 w 743"/>
                <a:gd name="T47" fmla="*/ 2147483647 h 672"/>
                <a:gd name="T48" fmla="*/ 2147483647 w 743"/>
                <a:gd name="T49" fmla="*/ 2147483647 h 672"/>
                <a:gd name="T50" fmla="*/ 2147483647 w 743"/>
                <a:gd name="T51" fmla="*/ 2147483647 h 672"/>
                <a:gd name="T52" fmla="*/ 2147483647 w 743"/>
                <a:gd name="T53" fmla="*/ 2147483647 h 672"/>
                <a:gd name="T54" fmla="*/ 2147483647 w 743"/>
                <a:gd name="T55" fmla="*/ 2147483647 h 672"/>
                <a:gd name="T56" fmla="*/ 2147483647 w 743"/>
                <a:gd name="T57" fmla="*/ 2147483647 h 672"/>
                <a:gd name="T58" fmla="*/ 2147483647 w 743"/>
                <a:gd name="T59" fmla="*/ 2147483647 h 672"/>
                <a:gd name="T60" fmla="*/ 2147483647 w 743"/>
                <a:gd name="T61" fmla="*/ 2147483647 h 672"/>
                <a:gd name="T62" fmla="*/ 2147483647 w 743"/>
                <a:gd name="T63" fmla="*/ 2147483647 h 672"/>
                <a:gd name="T64" fmla="*/ 2147483647 w 743"/>
                <a:gd name="T65" fmla="*/ 2147483647 h 672"/>
                <a:gd name="T66" fmla="*/ 2147483647 w 743"/>
                <a:gd name="T67" fmla="*/ 2147483647 h 672"/>
                <a:gd name="T68" fmla="*/ 2147483647 w 743"/>
                <a:gd name="T69" fmla="*/ 2147483647 h 672"/>
                <a:gd name="T70" fmla="*/ 2147483647 w 743"/>
                <a:gd name="T71" fmla="*/ 2147483647 h 672"/>
                <a:gd name="T72" fmla="*/ 2147483647 w 743"/>
                <a:gd name="T73" fmla="*/ 2147483647 h 672"/>
                <a:gd name="T74" fmla="*/ 2147483647 w 743"/>
                <a:gd name="T75" fmla="*/ 2147483647 h 672"/>
                <a:gd name="T76" fmla="*/ 2147483647 w 743"/>
                <a:gd name="T77" fmla="*/ 2147483647 h 672"/>
                <a:gd name="T78" fmla="*/ 2147483647 w 743"/>
                <a:gd name="T79" fmla="*/ 2147483647 h 672"/>
                <a:gd name="T80" fmla="*/ 2147483647 w 743"/>
                <a:gd name="T81" fmla="*/ 2147483647 h 672"/>
                <a:gd name="T82" fmla="*/ 2147483647 w 743"/>
                <a:gd name="T83" fmla="*/ 2147483647 h 672"/>
                <a:gd name="T84" fmla="*/ 2147483647 w 743"/>
                <a:gd name="T85" fmla="*/ 2147483647 h 672"/>
                <a:gd name="T86" fmla="*/ 2147483647 w 743"/>
                <a:gd name="T87" fmla="*/ 2147483647 h 672"/>
                <a:gd name="T88" fmla="*/ 2147483647 w 743"/>
                <a:gd name="T89" fmla="*/ 2147483647 h 672"/>
                <a:gd name="T90" fmla="*/ 2147483647 w 743"/>
                <a:gd name="T91" fmla="*/ 2147483647 h 672"/>
                <a:gd name="T92" fmla="*/ 2147483647 w 743"/>
                <a:gd name="T93" fmla="*/ 2058891364 h 672"/>
                <a:gd name="T94" fmla="*/ 2147483647 w 743"/>
                <a:gd name="T95" fmla="*/ 2147483647 h 672"/>
                <a:gd name="T96" fmla="*/ 2147483647 w 743"/>
                <a:gd name="T97" fmla="*/ 2147483647 h 672"/>
                <a:gd name="T98" fmla="*/ 2147483647 w 743"/>
                <a:gd name="T99" fmla="*/ 2147483647 h 672"/>
                <a:gd name="T100" fmla="*/ 2147483647 w 743"/>
                <a:gd name="T101" fmla="*/ 2147483647 h 672"/>
                <a:gd name="T102" fmla="*/ 2147483647 w 743"/>
                <a:gd name="T103" fmla="*/ 2147483647 h 672"/>
                <a:gd name="T104" fmla="*/ 2147483647 w 743"/>
                <a:gd name="T105" fmla="*/ 2147483647 h 672"/>
                <a:gd name="T106" fmla="*/ 2147483647 w 743"/>
                <a:gd name="T107" fmla="*/ 2147483647 h 672"/>
                <a:gd name="T108" fmla="*/ 2147483647 w 743"/>
                <a:gd name="T109" fmla="*/ 2147483647 h 672"/>
                <a:gd name="T110" fmla="*/ 2147483647 w 743"/>
                <a:gd name="T111" fmla="*/ 2147483647 h 672"/>
                <a:gd name="T112" fmla="*/ 2147483647 w 743"/>
                <a:gd name="T113" fmla="*/ 2147483647 h 672"/>
                <a:gd name="T114" fmla="*/ 2147483647 w 743"/>
                <a:gd name="T115" fmla="*/ 2147483647 h 672"/>
                <a:gd name="T116" fmla="*/ 2147483647 w 743"/>
                <a:gd name="T117" fmla="*/ 2147483647 h 672"/>
                <a:gd name="T118" fmla="*/ 163883078 w 743"/>
                <a:gd name="T119" fmla="*/ 2147483647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58" name="Freeform 193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6538311" y="2757671"/>
              <a:ext cx="839293" cy="656038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980882002 w 1535"/>
                <a:gd name="T71" fmla="*/ 2147483647 h 1109"/>
                <a:gd name="T72" fmla="*/ 2147483647 w 1535"/>
                <a:gd name="T73" fmla="*/ 1035125624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59" name="Freeform 194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8139149" y="4609276"/>
              <a:ext cx="265146" cy="299340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1666127626 h 505"/>
                <a:gd name="T80" fmla="*/ 2147483647 w 486"/>
                <a:gd name="T81" fmla="*/ 416707361 h 505"/>
                <a:gd name="T82" fmla="*/ 2147483647 w 486"/>
                <a:gd name="T83" fmla="*/ 208353681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60" name="Freeform 195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8352462" y="3711256"/>
              <a:ext cx="91704" cy="123679"/>
            </a:xfrm>
            <a:custGeom>
              <a:avLst/>
              <a:gdLst>
                <a:gd name="T0" fmla="*/ 1180142643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02277804 h 208"/>
                <a:gd name="T46" fmla="*/ 2147483647 w 166"/>
                <a:gd name="T47" fmla="*/ 1681893477 h 208"/>
                <a:gd name="T48" fmla="*/ 2147483647 w 166"/>
                <a:gd name="T49" fmla="*/ 1051138902 h 208"/>
                <a:gd name="T50" fmla="*/ 2147483647 w 166"/>
                <a:gd name="T51" fmla="*/ 630753981 h 208"/>
                <a:gd name="T52" fmla="*/ 2147483647 w 166"/>
                <a:gd name="T53" fmla="*/ 210369060 h 208"/>
                <a:gd name="T54" fmla="*/ 2147483647 w 166"/>
                <a:gd name="T55" fmla="*/ 0 h 208"/>
                <a:gd name="T56" fmla="*/ 2147483647 w 166"/>
                <a:gd name="T57" fmla="*/ 210369060 h 208"/>
                <a:gd name="T58" fmla="*/ 2147483647 w 166"/>
                <a:gd name="T59" fmla="*/ 1051138902 h 208"/>
                <a:gd name="T60" fmla="*/ 2147483647 w 166"/>
                <a:gd name="T61" fmla="*/ 2147483647 h 208"/>
                <a:gd name="T62" fmla="*/ 1854597389 w 166"/>
                <a:gd name="T63" fmla="*/ 2147483647 h 208"/>
                <a:gd name="T64" fmla="*/ 1180142643 w 166"/>
                <a:gd name="T65" fmla="*/ 2147483647 h 208"/>
                <a:gd name="T66" fmla="*/ 674454746 w 166"/>
                <a:gd name="T67" fmla="*/ 2147483647 h 208"/>
                <a:gd name="T68" fmla="*/ 33722709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337227097 w 166"/>
                <a:gd name="T75" fmla="*/ 2147483647 h 208"/>
                <a:gd name="T76" fmla="*/ 505688450 w 166"/>
                <a:gd name="T77" fmla="*/ 2147483647 h 208"/>
                <a:gd name="T78" fmla="*/ 842915546 w 166"/>
                <a:gd name="T79" fmla="*/ 2147483647 h 208"/>
                <a:gd name="T80" fmla="*/ 1685831093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1854597389 w 166"/>
                <a:gd name="T109" fmla="*/ 2147483647 h 208"/>
                <a:gd name="T110" fmla="*/ 1180142643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61" name="Freeform 196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7742429" y="3212954"/>
              <a:ext cx="87717" cy="66320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1682979011 w 164"/>
                <a:gd name="T27" fmla="*/ 2147483647 h 104"/>
                <a:gd name="T28" fmla="*/ 918014565 w 164"/>
                <a:gd name="T29" fmla="*/ 2147483647 h 104"/>
                <a:gd name="T30" fmla="*/ 459150358 w 164"/>
                <a:gd name="T31" fmla="*/ 2147483647 h 104"/>
                <a:gd name="T32" fmla="*/ 153050119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153050119 w 164"/>
                <a:gd name="T41" fmla="*/ 2147483647 h 104"/>
                <a:gd name="T42" fmla="*/ 459150358 w 164"/>
                <a:gd name="T43" fmla="*/ 2147483647 h 104"/>
                <a:gd name="T44" fmla="*/ 918014565 w 164"/>
                <a:gd name="T45" fmla="*/ 2147483647 h 104"/>
                <a:gd name="T46" fmla="*/ 1836029131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155584870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155584870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62" name="Freeform 197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8202943" y="5871164"/>
              <a:ext cx="29904" cy="64528"/>
            </a:xfrm>
            <a:custGeom>
              <a:avLst/>
              <a:gdLst>
                <a:gd name="T0" fmla="*/ 0 w 53"/>
                <a:gd name="T1" fmla="*/ 2147483647 h 19"/>
                <a:gd name="T2" fmla="*/ 1257488026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1257488026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63" name="Freeform 198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8159085" y="5847862"/>
              <a:ext cx="43859" cy="66320"/>
            </a:xfrm>
            <a:custGeom>
              <a:avLst/>
              <a:gdLst>
                <a:gd name="T0" fmla="*/ 0 w 80"/>
                <a:gd name="T1" fmla="*/ 0 h 18"/>
                <a:gd name="T2" fmla="*/ 164709185 w 80"/>
                <a:gd name="T3" fmla="*/ 2147483647 h 18"/>
                <a:gd name="T4" fmla="*/ 823846908 w 80"/>
                <a:gd name="T5" fmla="*/ 2147483647 h 18"/>
                <a:gd name="T6" fmla="*/ 1318275445 w 80"/>
                <a:gd name="T7" fmla="*/ 2147483647 h 18"/>
                <a:gd name="T8" fmla="*/ 1812703435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64" name="Freeform 199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8159085" y="5824560"/>
              <a:ext cx="27910" cy="68113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010370648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65" name="Freeform 200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8121208" y="5817390"/>
              <a:ext cx="31897" cy="68113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061005162 w 54"/>
                <a:gd name="T5" fmla="*/ 2147483647 h 39"/>
                <a:gd name="T6" fmla="*/ 1236533278 w 54"/>
                <a:gd name="T7" fmla="*/ 2147483647 h 39"/>
                <a:gd name="T8" fmla="*/ 824471884 w 54"/>
                <a:gd name="T9" fmla="*/ 2147483647 h 39"/>
                <a:gd name="T10" fmla="*/ 412061395 w 54"/>
                <a:gd name="T11" fmla="*/ 2147483647 h 39"/>
                <a:gd name="T12" fmla="*/ 0 w 54"/>
                <a:gd name="T13" fmla="*/ 2147483647 h 39"/>
                <a:gd name="T14" fmla="*/ 412061395 w 54"/>
                <a:gd name="T15" fmla="*/ 2147483647 h 39"/>
                <a:gd name="T16" fmla="*/ 618266639 w 54"/>
                <a:gd name="T17" fmla="*/ 2147483647 h 39"/>
                <a:gd name="T18" fmla="*/ 1030328034 w 54"/>
                <a:gd name="T19" fmla="*/ 2147483647 h 39"/>
                <a:gd name="T20" fmla="*/ 1648595264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66" name="Freeform 201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8089310" y="5806635"/>
              <a:ext cx="35884" cy="66321"/>
            </a:xfrm>
            <a:custGeom>
              <a:avLst/>
              <a:gdLst>
                <a:gd name="T0" fmla="*/ 0 w 60"/>
                <a:gd name="T1" fmla="*/ 2147483647 h 15"/>
                <a:gd name="T2" fmla="*/ 2139306595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1497264086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67" name="Freeform 202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8059406" y="5792296"/>
              <a:ext cx="41866" cy="64528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1488204873 w 79"/>
                <a:gd name="T13" fmla="*/ 2147483647 h 32"/>
                <a:gd name="T14" fmla="*/ 744242873 w 79"/>
                <a:gd name="T15" fmla="*/ 2147483647 h 32"/>
                <a:gd name="T16" fmla="*/ 0 w 79"/>
                <a:gd name="T17" fmla="*/ 2147483647 h 32"/>
                <a:gd name="T18" fmla="*/ 744242873 w 79"/>
                <a:gd name="T19" fmla="*/ 2147483647 h 32"/>
                <a:gd name="T20" fmla="*/ 1488204873 w 79"/>
                <a:gd name="T21" fmla="*/ 2147483647 h 32"/>
                <a:gd name="T22" fmla="*/ 1785901810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68" name="Freeform 203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8051432" y="5770786"/>
              <a:ext cx="37878" cy="64528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1701204284 w 66"/>
                <a:gd name="T9" fmla="*/ 2147483647 h 19"/>
                <a:gd name="T10" fmla="*/ 945296568 w 66"/>
                <a:gd name="T11" fmla="*/ 2147483647 h 19"/>
                <a:gd name="T12" fmla="*/ 37811885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69" name="Freeform 204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7925838" y="5421258"/>
              <a:ext cx="31897" cy="68113"/>
            </a:xfrm>
            <a:custGeom>
              <a:avLst/>
              <a:gdLst>
                <a:gd name="T0" fmla="*/ 2147483647 w 53"/>
                <a:gd name="T1" fmla="*/ 0 h 80"/>
                <a:gd name="T2" fmla="*/ 1743990743 w 53"/>
                <a:gd name="T3" fmla="*/ 2147483647 h 80"/>
                <a:gd name="T4" fmla="*/ 871814220 w 53"/>
                <a:gd name="T5" fmla="*/ 2147483647 h 80"/>
                <a:gd name="T6" fmla="*/ 436088562 w 53"/>
                <a:gd name="T7" fmla="*/ 2147483647 h 80"/>
                <a:gd name="T8" fmla="*/ 218044281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436088562 w 53"/>
                <a:gd name="T17" fmla="*/ 2147483647 h 80"/>
                <a:gd name="T18" fmla="*/ 1307902783 w 53"/>
                <a:gd name="T19" fmla="*/ 2147483647 h 80"/>
                <a:gd name="T20" fmla="*/ 1961672722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616892630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70" name="Freeform 205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7963715" y="5528805"/>
              <a:ext cx="21930" cy="60943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1530319795 w 41"/>
                <a:gd name="T17" fmla="*/ 2147483647 h 43"/>
                <a:gd name="T18" fmla="*/ 918077520 w 41"/>
                <a:gd name="T19" fmla="*/ 2147483647 h 43"/>
                <a:gd name="T20" fmla="*/ 459181572 w 41"/>
                <a:gd name="T21" fmla="*/ 2147483647 h 43"/>
                <a:gd name="T22" fmla="*/ 153060702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71" name="Freeform 206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7969696" y="5553900"/>
              <a:ext cx="9967" cy="66320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123679506 w 20"/>
                <a:gd name="T5" fmla="*/ 2147483647 h 24"/>
                <a:gd name="T6" fmla="*/ 247607689 w 20"/>
                <a:gd name="T7" fmla="*/ 2147483647 h 24"/>
                <a:gd name="T8" fmla="*/ 494967200 w 20"/>
                <a:gd name="T9" fmla="*/ 2147483647 h 24"/>
                <a:gd name="T10" fmla="*/ 866254396 w 20"/>
                <a:gd name="T11" fmla="*/ 2147483647 h 24"/>
                <a:gd name="T12" fmla="*/ 1237789770 w 20"/>
                <a:gd name="T13" fmla="*/ 2147483647 h 24"/>
                <a:gd name="T14" fmla="*/ 1732756970 w 20"/>
                <a:gd name="T15" fmla="*/ 2147483647 h 24"/>
                <a:gd name="T16" fmla="*/ 2104044165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72" name="Freeform 207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7987638" y="5623805"/>
              <a:ext cx="21930" cy="68113"/>
            </a:xfrm>
            <a:custGeom>
              <a:avLst/>
              <a:gdLst>
                <a:gd name="T0" fmla="*/ 0 w 39"/>
                <a:gd name="T1" fmla="*/ 2147483647 h 43"/>
                <a:gd name="T2" fmla="*/ 355713597 w 39"/>
                <a:gd name="T3" fmla="*/ 2147483647 h 43"/>
                <a:gd name="T4" fmla="*/ 1066824774 w 39"/>
                <a:gd name="T5" fmla="*/ 2147483647 h 43"/>
                <a:gd name="T6" fmla="*/ 2133649548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1066824774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73" name="Freeform 208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7971689" y="5638145"/>
              <a:ext cx="33891" cy="66321"/>
            </a:xfrm>
            <a:custGeom>
              <a:avLst/>
              <a:gdLst>
                <a:gd name="T0" fmla="*/ 2147483647 w 55"/>
                <a:gd name="T1" fmla="*/ 2147483647 h 62"/>
                <a:gd name="T2" fmla="*/ 1871933029 w 55"/>
                <a:gd name="T3" fmla="*/ 0 h 62"/>
                <a:gd name="T4" fmla="*/ 935966515 w 55"/>
                <a:gd name="T5" fmla="*/ 2147483647 h 62"/>
                <a:gd name="T6" fmla="*/ 233896580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467793160 w 55"/>
                <a:gd name="T13" fmla="*/ 2147483647 h 62"/>
                <a:gd name="T14" fmla="*/ 935966515 w 55"/>
                <a:gd name="T15" fmla="*/ 2147483647 h 62"/>
                <a:gd name="T16" fmla="*/ 1871933029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74" name="Freeform 209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8009568" y="5675787"/>
              <a:ext cx="13954" cy="66320"/>
            </a:xfrm>
            <a:custGeom>
              <a:avLst/>
              <a:gdLst>
                <a:gd name="T0" fmla="*/ 2091309104 w 35"/>
                <a:gd name="T1" fmla="*/ 2147483647 h 43"/>
                <a:gd name="T2" fmla="*/ 443630352 w 35"/>
                <a:gd name="T3" fmla="*/ 0 h 43"/>
                <a:gd name="T4" fmla="*/ 253525840 w 35"/>
                <a:gd name="T5" fmla="*/ 2147483647 h 43"/>
                <a:gd name="T6" fmla="*/ 0 w 35"/>
                <a:gd name="T7" fmla="*/ 2147483647 h 43"/>
                <a:gd name="T8" fmla="*/ 126683582 w 35"/>
                <a:gd name="T9" fmla="*/ 2147483647 h 43"/>
                <a:gd name="T10" fmla="*/ 316788094 w 35"/>
                <a:gd name="T11" fmla="*/ 2147483647 h 43"/>
                <a:gd name="T12" fmla="*/ 380209024 w 35"/>
                <a:gd name="T13" fmla="*/ 2147483647 h 43"/>
                <a:gd name="T14" fmla="*/ 506892605 w 35"/>
                <a:gd name="T15" fmla="*/ 2147483647 h 43"/>
                <a:gd name="T16" fmla="*/ 697156193 w 35"/>
                <a:gd name="T17" fmla="*/ 2147483647 h 43"/>
                <a:gd name="T18" fmla="*/ 887260704 w 35"/>
                <a:gd name="T19" fmla="*/ 2147483647 h 43"/>
                <a:gd name="T20" fmla="*/ 1140627469 w 35"/>
                <a:gd name="T21" fmla="*/ 2147483647 h 43"/>
                <a:gd name="T22" fmla="*/ 1394152911 w 35"/>
                <a:gd name="T23" fmla="*/ 2147483647 h 43"/>
                <a:gd name="T24" fmla="*/ 1647678752 w 35"/>
                <a:gd name="T25" fmla="*/ 2147483647 h 43"/>
                <a:gd name="T26" fmla="*/ 1774362333 w 35"/>
                <a:gd name="T27" fmla="*/ 2147483647 h 43"/>
                <a:gd name="T28" fmla="*/ 1964466845 w 35"/>
                <a:gd name="T29" fmla="*/ 2147483647 h 43"/>
                <a:gd name="T30" fmla="*/ 2091309104 w 35"/>
                <a:gd name="T31" fmla="*/ 2147483647 h 43"/>
                <a:gd name="T32" fmla="*/ 2147483647 w 35"/>
                <a:gd name="T33" fmla="*/ 2147483647 h 43"/>
                <a:gd name="T34" fmla="*/ 2091309104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75" name="Freeform 210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8005580" y="5713428"/>
              <a:ext cx="25916" cy="62736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1987659404 w 53"/>
                <a:gd name="T11" fmla="*/ 2147483647 h 21"/>
                <a:gd name="T12" fmla="*/ 1519974867 w 53"/>
                <a:gd name="T13" fmla="*/ 2147483647 h 21"/>
                <a:gd name="T14" fmla="*/ 935369074 w 53"/>
                <a:gd name="T15" fmla="*/ 2147483647 h 21"/>
                <a:gd name="T16" fmla="*/ 0 w 53"/>
                <a:gd name="T17" fmla="*/ 2147483647 h 21"/>
                <a:gd name="T18" fmla="*/ 584605793 w 53"/>
                <a:gd name="T19" fmla="*/ 2147483647 h 21"/>
                <a:gd name="T20" fmla="*/ 1286132843 w 53"/>
                <a:gd name="T21" fmla="*/ 2147483647 h 21"/>
                <a:gd name="T22" fmla="*/ 1987659404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76" name="Freeform 211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8035483" y="5729560"/>
              <a:ext cx="21930" cy="64528"/>
            </a:xfrm>
            <a:custGeom>
              <a:avLst/>
              <a:gdLst>
                <a:gd name="T0" fmla="*/ 2147483647 w 43"/>
                <a:gd name="T1" fmla="*/ 0 h 38"/>
                <a:gd name="T2" fmla="*/ 1591812000 w 43"/>
                <a:gd name="T3" fmla="*/ 0 h 38"/>
                <a:gd name="T4" fmla="*/ 265302000 w 43"/>
                <a:gd name="T5" fmla="*/ 0 h 38"/>
                <a:gd name="T6" fmla="*/ 132651000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132651000 w 43"/>
                <a:gd name="T15" fmla="*/ 2147483647 h 38"/>
                <a:gd name="T16" fmla="*/ 265302000 w 43"/>
                <a:gd name="T17" fmla="*/ 2147483647 h 38"/>
                <a:gd name="T18" fmla="*/ 397953000 w 43"/>
                <a:gd name="T19" fmla="*/ 2147483647 h 38"/>
                <a:gd name="T20" fmla="*/ 663255000 w 43"/>
                <a:gd name="T21" fmla="*/ 2147483647 h 38"/>
                <a:gd name="T22" fmla="*/ 1326510000 w 43"/>
                <a:gd name="T23" fmla="*/ 2147483647 h 38"/>
                <a:gd name="T24" fmla="*/ 1989765000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77" name="Freeform 212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8037478" y="5761824"/>
              <a:ext cx="7974" cy="64528"/>
            </a:xfrm>
            <a:custGeom>
              <a:avLst/>
              <a:gdLst>
                <a:gd name="T0" fmla="*/ 0 w 20"/>
                <a:gd name="T1" fmla="*/ 0 h 5"/>
                <a:gd name="T2" fmla="*/ 63425595 w 20"/>
                <a:gd name="T3" fmla="*/ 2147483647 h 5"/>
                <a:gd name="T4" fmla="*/ 126692507 w 20"/>
                <a:gd name="T5" fmla="*/ 2147483647 h 5"/>
                <a:gd name="T6" fmla="*/ 253544095 w 20"/>
                <a:gd name="T7" fmla="*/ 2147483647 h 5"/>
                <a:gd name="T8" fmla="*/ 443662196 w 20"/>
                <a:gd name="T9" fmla="*/ 2147483647 h 5"/>
                <a:gd name="T10" fmla="*/ 697205893 w 20"/>
                <a:gd name="T11" fmla="*/ 2147483647 h 5"/>
                <a:gd name="T12" fmla="*/ 887323994 w 20"/>
                <a:gd name="T13" fmla="*/ 2147483647 h 5"/>
                <a:gd name="T14" fmla="*/ 1077442494 w 20"/>
                <a:gd name="T15" fmla="*/ 2147483647 h 5"/>
                <a:gd name="T16" fmla="*/ 1267560596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78" name="Freeform 213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8131175" y="5840692"/>
              <a:ext cx="43859" cy="64528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1301298933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79" name="Freeform 214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8179021" y="5774371"/>
              <a:ext cx="155499" cy="112925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1016671277 w 281"/>
                <a:gd name="T25" fmla="*/ 2147483647 h 193"/>
                <a:gd name="T26" fmla="*/ 0 w 281"/>
                <a:gd name="T27" fmla="*/ 2147483647 h 193"/>
                <a:gd name="T28" fmla="*/ 169343391 w 281"/>
                <a:gd name="T29" fmla="*/ 2147483647 h 193"/>
                <a:gd name="T30" fmla="*/ 1525007469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80" name="Freeform 215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7616833" y="3252388"/>
              <a:ext cx="65789" cy="66320"/>
            </a:xfrm>
            <a:custGeom>
              <a:avLst/>
              <a:gdLst>
                <a:gd name="T0" fmla="*/ 0 w 120"/>
                <a:gd name="T1" fmla="*/ 2147483647 h 56"/>
                <a:gd name="T2" fmla="*/ 659147666 w 120"/>
                <a:gd name="T3" fmla="*/ 2147483647 h 56"/>
                <a:gd name="T4" fmla="*/ 1647718948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1660598323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1318295333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81" name="Freeform 216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7435618" y="3097882"/>
              <a:ext cx="315381" cy="123524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82" name="Freeform 217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7820178" y="3212954"/>
              <a:ext cx="111640" cy="78868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1599801309 h 129"/>
                <a:gd name="T44" fmla="*/ 2147483647 w 207"/>
                <a:gd name="T45" fmla="*/ 0 h 129"/>
                <a:gd name="T46" fmla="*/ 0 w 207"/>
                <a:gd name="T47" fmla="*/ 0 h 129"/>
                <a:gd name="T48" fmla="*/ 156778695 w 207"/>
                <a:gd name="T49" fmla="*/ 1371044369 h 129"/>
                <a:gd name="T50" fmla="*/ 313848624 w 207"/>
                <a:gd name="T51" fmla="*/ 2147483647 h 129"/>
                <a:gd name="T52" fmla="*/ 627406553 w 207"/>
                <a:gd name="T53" fmla="*/ 2147483647 h 129"/>
                <a:gd name="T54" fmla="*/ 941255177 w 207"/>
                <a:gd name="T55" fmla="*/ 2147483647 h 129"/>
                <a:gd name="T56" fmla="*/ 1568662269 w 207"/>
                <a:gd name="T57" fmla="*/ 2147483647 h 129"/>
                <a:gd name="T58" fmla="*/ 2039289588 w 207"/>
                <a:gd name="T59" fmla="*/ 2147483647 h 129"/>
                <a:gd name="T60" fmla="*/ 2147483647 w 207"/>
                <a:gd name="T61" fmla="*/ 2147483647 h 129"/>
                <a:gd name="T62" fmla="*/ 2147483647 w 207"/>
                <a:gd name="T63" fmla="*/ 2147483647 h 129"/>
                <a:gd name="T64" fmla="*/ 2147483647 w 207"/>
                <a:gd name="T65" fmla="*/ 2147483647 h 129"/>
                <a:gd name="T66" fmla="*/ 2147483647 w 207"/>
                <a:gd name="T67" fmla="*/ 2147483647 h 129"/>
                <a:gd name="T68" fmla="*/ 1725731659 w 207"/>
                <a:gd name="T69" fmla="*/ 2147483647 h 129"/>
                <a:gd name="T70" fmla="*/ 1098034411 w 207"/>
                <a:gd name="T71" fmla="*/ 2147483647 h 129"/>
                <a:gd name="T72" fmla="*/ 0 w 207"/>
                <a:gd name="T73" fmla="*/ 2147483647 h 129"/>
                <a:gd name="T74" fmla="*/ 627406553 w 207"/>
                <a:gd name="T75" fmla="*/ 2147483647 h 129"/>
                <a:gd name="T76" fmla="*/ 2039289588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4FD1FF"/>
            </a:solidFill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83" name="Freeform 218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7277926" y="3281067"/>
              <a:ext cx="41866" cy="95000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939184805 h 154"/>
                <a:gd name="T4" fmla="*/ 2147483647 w 72"/>
                <a:gd name="T5" fmla="*/ 2112784578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589664003 w 72"/>
                <a:gd name="T45" fmla="*/ 2147483647 h 154"/>
                <a:gd name="T46" fmla="*/ 1572887594 w 72"/>
                <a:gd name="T47" fmla="*/ 2147483647 h 154"/>
                <a:gd name="T48" fmla="*/ 1769329263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84" name="Freeform 219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7178247" y="3281067"/>
              <a:ext cx="117621" cy="164906"/>
            </a:xfrm>
            <a:custGeom>
              <a:avLst/>
              <a:gdLst>
                <a:gd name="T0" fmla="*/ 1328307694 w 214"/>
                <a:gd name="T1" fmla="*/ 2147483647 h 271"/>
                <a:gd name="T2" fmla="*/ 1992612414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676137723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85" name="Freeform 220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7238054" y="3406539"/>
              <a:ext cx="89711" cy="64528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1410964054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86" name="Freeform 221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7277926" y="3363520"/>
              <a:ext cx="179421" cy="98584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397109769 h 169"/>
                <a:gd name="T40" fmla="*/ 2147483647 w 332"/>
                <a:gd name="T41" fmla="*/ 198384842 h 169"/>
                <a:gd name="T42" fmla="*/ 2147483647 w 332"/>
                <a:gd name="T43" fmla="*/ 0 h 169"/>
                <a:gd name="T44" fmla="*/ 2147483647 w 332"/>
                <a:gd name="T45" fmla="*/ 198384842 h 169"/>
                <a:gd name="T46" fmla="*/ 2147483647 w 332"/>
                <a:gd name="T47" fmla="*/ 793878869 h 169"/>
                <a:gd name="T48" fmla="*/ 2147483647 w 332"/>
                <a:gd name="T49" fmla="*/ 1984866923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1736289983 w 332"/>
                <a:gd name="T67" fmla="*/ 2147483647 h 169"/>
                <a:gd name="T68" fmla="*/ 1104858846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87" name="Freeform 222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7299856" y="3397576"/>
              <a:ext cx="157492" cy="138020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1418063878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88" name="Freeform 223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7363650" y="3524841"/>
              <a:ext cx="105659" cy="112924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1779836163 w 205"/>
                <a:gd name="T43" fmla="*/ 2147483647 h 191"/>
                <a:gd name="T44" fmla="*/ 547764604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410690348 w 205"/>
                <a:gd name="T51" fmla="*/ 2147483647 h 191"/>
                <a:gd name="T52" fmla="*/ 1095263256 w 205"/>
                <a:gd name="T53" fmla="*/ 2147483647 h 191"/>
                <a:gd name="T54" fmla="*/ 1916910419 w 205"/>
                <a:gd name="T55" fmla="*/ 2147483647 h 191"/>
                <a:gd name="T56" fmla="*/ 2147483647 w 205"/>
                <a:gd name="T57" fmla="*/ 826678766 h 191"/>
                <a:gd name="T58" fmla="*/ 2147483647 w 205"/>
                <a:gd name="T59" fmla="*/ 0 h 191"/>
                <a:gd name="T60" fmla="*/ 2147483647 w 205"/>
                <a:gd name="T61" fmla="*/ 1239844033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89" name="Freeform 224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7465322" y="3585785"/>
              <a:ext cx="179421" cy="89623"/>
            </a:xfrm>
            <a:custGeom>
              <a:avLst/>
              <a:gdLst>
                <a:gd name="T0" fmla="*/ 486561939 w 329"/>
                <a:gd name="T1" fmla="*/ 2147483647 h 154"/>
                <a:gd name="T2" fmla="*/ 0 w 329"/>
                <a:gd name="T3" fmla="*/ 2147483647 h 154"/>
                <a:gd name="T4" fmla="*/ 324473880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788461252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1182692460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486561939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90" name="Freeform 225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8320565" y="5001824"/>
              <a:ext cx="167460" cy="175661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163819660 w 306"/>
                <a:gd name="T37" fmla="*/ 2147483647 h 293"/>
                <a:gd name="T38" fmla="*/ 0 w 306"/>
                <a:gd name="T39" fmla="*/ 2147483647 h 293"/>
                <a:gd name="T40" fmla="*/ 163819660 w 306"/>
                <a:gd name="T41" fmla="*/ 2147483647 h 293"/>
                <a:gd name="T42" fmla="*/ 655579085 w 306"/>
                <a:gd name="T43" fmla="*/ 2147483647 h 293"/>
                <a:gd name="T44" fmla="*/ 1802917593 w 306"/>
                <a:gd name="T45" fmla="*/ 2147483647 h 293"/>
                <a:gd name="T46" fmla="*/ 2147483647 w 306"/>
                <a:gd name="T47" fmla="*/ 1723830938 h 293"/>
                <a:gd name="T48" fmla="*/ 2147483647 w 306"/>
                <a:gd name="T49" fmla="*/ 430957585 h 293"/>
                <a:gd name="T50" fmla="*/ 2147483647 w 306"/>
                <a:gd name="T51" fmla="*/ 0 h 293"/>
                <a:gd name="T52" fmla="*/ 2147483647 w 306"/>
                <a:gd name="T53" fmla="*/ 1292873353 h 293"/>
                <a:gd name="T54" fmla="*/ 2147483647 w 306"/>
                <a:gd name="T55" fmla="*/ 1508531704 h 293"/>
                <a:gd name="T56" fmla="*/ 2147483647 w 306"/>
                <a:gd name="T57" fmla="*/ 861915169 h 293"/>
                <a:gd name="T58" fmla="*/ 2147483647 w 306"/>
                <a:gd name="T59" fmla="*/ 1077574119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91" name="Freeform 363"/>
            <p:cNvSpPr>
              <a:spLocks/>
            </p:cNvSpPr>
            <p:nvPr/>
          </p:nvSpPr>
          <p:spPr bwMode="auto">
            <a:xfrm>
              <a:off x="7496104" y="3863615"/>
              <a:ext cx="190505" cy="227642"/>
            </a:xfrm>
            <a:custGeom>
              <a:avLst/>
              <a:gdLst>
                <a:gd name="T0" fmla="*/ 2147483647 w 352"/>
                <a:gd name="T1" fmla="*/ 2147483647 h 387"/>
                <a:gd name="T2" fmla="*/ 2147483647 w 352"/>
                <a:gd name="T3" fmla="*/ 2147483647 h 387"/>
                <a:gd name="T4" fmla="*/ 2147483647 w 352"/>
                <a:gd name="T5" fmla="*/ 2147483647 h 387"/>
                <a:gd name="T6" fmla="*/ 2147483647 w 352"/>
                <a:gd name="T7" fmla="*/ 2147483647 h 387"/>
                <a:gd name="T8" fmla="*/ 2147483647 w 352"/>
                <a:gd name="T9" fmla="*/ 2147483647 h 387"/>
                <a:gd name="T10" fmla="*/ 2147483647 w 352"/>
                <a:gd name="T11" fmla="*/ 2147483647 h 387"/>
                <a:gd name="T12" fmla="*/ 2147483647 w 352"/>
                <a:gd name="T13" fmla="*/ 1221052865 h 387"/>
                <a:gd name="T14" fmla="*/ 2147483647 w 352"/>
                <a:gd name="T15" fmla="*/ 2147483647 h 387"/>
                <a:gd name="T16" fmla="*/ 2147483647 w 352"/>
                <a:gd name="T17" fmla="*/ 2147483647 h 387"/>
                <a:gd name="T18" fmla="*/ 2147483647 w 352"/>
                <a:gd name="T19" fmla="*/ 2147483647 h 387"/>
                <a:gd name="T20" fmla="*/ 2147483647 w 352"/>
                <a:gd name="T21" fmla="*/ 2147483647 h 387"/>
                <a:gd name="T22" fmla="*/ 2147483647 w 352"/>
                <a:gd name="T23" fmla="*/ 2147483647 h 387"/>
                <a:gd name="T24" fmla="*/ 2147483647 w 352"/>
                <a:gd name="T25" fmla="*/ 2147483647 h 387"/>
                <a:gd name="T26" fmla="*/ 2147483647 w 352"/>
                <a:gd name="T27" fmla="*/ 2147483647 h 387"/>
                <a:gd name="T28" fmla="*/ 1109526016 w 352"/>
                <a:gd name="T29" fmla="*/ 2147483647 h 387"/>
                <a:gd name="T30" fmla="*/ 0 w 352"/>
                <a:gd name="T31" fmla="*/ 2147483647 h 387"/>
                <a:gd name="T32" fmla="*/ 0 w 352"/>
                <a:gd name="T33" fmla="*/ 2147483647 h 387"/>
                <a:gd name="T34" fmla="*/ 475678537 w 352"/>
                <a:gd name="T35" fmla="*/ 2147483647 h 387"/>
                <a:gd name="T36" fmla="*/ 1426742277 w 352"/>
                <a:gd name="T37" fmla="*/ 2147483647 h 387"/>
                <a:gd name="T38" fmla="*/ 2147483647 w 352"/>
                <a:gd name="T39" fmla="*/ 2147483647 h 387"/>
                <a:gd name="T40" fmla="*/ 2147483647 w 352"/>
                <a:gd name="T41" fmla="*/ 2147483647 h 387"/>
                <a:gd name="T42" fmla="*/ 2147483647 w 352"/>
                <a:gd name="T43" fmla="*/ 2147483647 h 387"/>
                <a:gd name="T44" fmla="*/ 2147483647 w 352"/>
                <a:gd name="T45" fmla="*/ 2147483647 h 387"/>
                <a:gd name="T46" fmla="*/ 2147483647 w 352"/>
                <a:gd name="T47" fmla="*/ 2147483647 h 387"/>
                <a:gd name="T48" fmla="*/ 2147483647 w 352"/>
                <a:gd name="T49" fmla="*/ 2147483647 h 387"/>
                <a:gd name="T50" fmla="*/ 2147483647 w 352"/>
                <a:gd name="T51" fmla="*/ 2147483647 h 387"/>
                <a:gd name="T52" fmla="*/ 2147483647 w 352"/>
                <a:gd name="T53" fmla="*/ 2147483647 h 387"/>
                <a:gd name="T54" fmla="*/ 2147483647 w 352"/>
                <a:gd name="T55" fmla="*/ 2147483647 h 387"/>
                <a:gd name="T56" fmla="*/ 2147483647 w 352"/>
                <a:gd name="T57" fmla="*/ 2147483647 h 387"/>
                <a:gd name="T58" fmla="*/ 2147483647 w 352"/>
                <a:gd name="T59" fmla="*/ 2147483647 h 387"/>
                <a:gd name="T60" fmla="*/ 2147483647 w 352"/>
                <a:gd name="T61" fmla="*/ 2147483647 h 387"/>
                <a:gd name="T62" fmla="*/ 2147483647 w 352"/>
                <a:gd name="T63" fmla="*/ 2147483647 h 387"/>
                <a:gd name="T64" fmla="*/ 2147483647 w 352"/>
                <a:gd name="T65" fmla="*/ 2147483647 h 387"/>
                <a:gd name="T66" fmla="*/ 2147483647 w 352"/>
                <a:gd name="T67" fmla="*/ 2147483647 h 387"/>
                <a:gd name="T68" fmla="*/ 2147483647 w 352"/>
                <a:gd name="T69" fmla="*/ 2147483647 h 387"/>
                <a:gd name="T70" fmla="*/ 2147483647 w 352"/>
                <a:gd name="T71" fmla="*/ 2147483647 h 387"/>
                <a:gd name="T72" fmla="*/ 2147483647 w 352"/>
                <a:gd name="T73" fmla="*/ 2147483647 h 387"/>
                <a:gd name="T74" fmla="*/ 2147483647 w 352"/>
                <a:gd name="T75" fmla="*/ 2147483647 h 387"/>
                <a:gd name="T76" fmla="*/ 2147483647 w 352"/>
                <a:gd name="T77" fmla="*/ 2147483647 h 387"/>
                <a:gd name="T78" fmla="*/ 2147483647 w 352"/>
                <a:gd name="T79" fmla="*/ 2147483647 h 387"/>
                <a:gd name="T80" fmla="*/ 2147483647 w 352"/>
                <a:gd name="T81" fmla="*/ 2147483647 h 387"/>
                <a:gd name="T82" fmla="*/ 2147483647 w 352"/>
                <a:gd name="T83" fmla="*/ 2147483647 h 387"/>
                <a:gd name="T84" fmla="*/ 2147483647 w 352"/>
                <a:gd name="T85" fmla="*/ 2147483647 h 387"/>
                <a:gd name="T86" fmla="*/ 2147483647 w 352"/>
                <a:gd name="T87" fmla="*/ 2147483647 h 387"/>
                <a:gd name="T88" fmla="*/ 2147483647 w 352"/>
                <a:gd name="T89" fmla="*/ 2147483647 h 387"/>
                <a:gd name="T90" fmla="*/ 2147483647 w 352"/>
                <a:gd name="T91" fmla="*/ 2147483647 h 387"/>
                <a:gd name="T92" fmla="*/ 2147483647 w 352"/>
                <a:gd name="T93" fmla="*/ 2147483647 h 387"/>
                <a:gd name="T94" fmla="*/ 2147483647 w 352"/>
                <a:gd name="T95" fmla="*/ 2147483647 h 387"/>
                <a:gd name="T96" fmla="*/ 2147483647 w 352"/>
                <a:gd name="T97" fmla="*/ 2147483647 h 387"/>
                <a:gd name="T98" fmla="*/ 2147483647 w 352"/>
                <a:gd name="T99" fmla="*/ 2147483647 h 387"/>
                <a:gd name="T100" fmla="*/ 2147483647 w 352"/>
                <a:gd name="T101" fmla="*/ 2147483647 h 387"/>
                <a:gd name="T102" fmla="*/ 2147483647 w 352"/>
                <a:gd name="T103" fmla="*/ 2147483647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392" name="Group 391"/>
            <p:cNvGrpSpPr>
              <a:grpSpLocks/>
            </p:cNvGrpSpPr>
            <p:nvPr>
              <p:custDataLst>
                <p:tags r:id="rId201"/>
              </p:custDataLst>
            </p:nvPr>
          </p:nvGrpSpPr>
          <p:grpSpPr bwMode="auto">
            <a:xfrm>
              <a:off x="6508407" y="1124744"/>
              <a:ext cx="2382319" cy="1279813"/>
              <a:chOff x="527" y="1110"/>
              <a:chExt cx="1410" cy="709"/>
            </a:xfrm>
            <a:grpFill/>
          </p:grpSpPr>
          <p:sp>
            <p:nvSpPr>
              <p:cNvPr id="1399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0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1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2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3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4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5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6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7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8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9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0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1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2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3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4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5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6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7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8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9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0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1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2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3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4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5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6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7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8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9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0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1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2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3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4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5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6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7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8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9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0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4FD1FF"/>
              </a:solidFill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93" name="Freeform 439"/>
            <p:cNvSpPr>
              <a:spLocks/>
            </p:cNvSpPr>
            <p:nvPr/>
          </p:nvSpPr>
          <p:spPr bwMode="auto">
            <a:xfrm>
              <a:off x="8208292" y="5427862"/>
              <a:ext cx="24954" cy="30147"/>
            </a:xfrm>
            <a:custGeom>
              <a:avLst/>
              <a:gdLst>
                <a:gd name="T0" fmla="*/ 2147483647 w 46"/>
                <a:gd name="T1" fmla="*/ 2147483647 h 51"/>
                <a:gd name="T2" fmla="*/ 2147483647 w 46"/>
                <a:gd name="T3" fmla="*/ 0 h 51"/>
                <a:gd name="T4" fmla="*/ 2075281508 w 46"/>
                <a:gd name="T5" fmla="*/ 1032885874 h 51"/>
                <a:gd name="T6" fmla="*/ 1117391297 w 46"/>
                <a:gd name="T7" fmla="*/ 1858914856 h 51"/>
                <a:gd name="T8" fmla="*/ 638593474 w 46"/>
                <a:gd name="T9" fmla="*/ 2147483647 h 51"/>
                <a:gd name="T10" fmla="*/ 319296737 w 46"/>
                <a:gd name="T11" fmla="*/ 2147483647 h 51"/>
                <a:gd name="T12" fmla="*/ 0 w 46"/>
                <a:gd name="T13" fmla="*/ 2147483647 h 51"/>
                <a:gd name="T14" fmla="*/ 0 w 46"/>
                <a:gd name="T15" fmla="*/ 2147483647 h 51"/>
                <a:gd name="T16" fmla="*/ 0 w 46"/>
                <a:gd name="T17" fmla="*/ 2147483647 h 51"/>
                <a:gd name="T18" fmla="*/ 319296737 w 46"/>
                <a:gd name="T19" fmla="*/ 2147483647 h 51"/>
                <a:gd name="T20" fmla="*/ 638593474 w 46"/>
                <a:gd name="T21" fmla="*/ 2147483647 h 51"/>
                <a:gd name="T22" fmla="*/ 1117391297 w 46"/>
                <a:gd name="T23" fmla="*/ 2147483647 h 51"/>
                <a:gd name="T24" fmla="*/ 1596483685 w 46"/>
                <a:gd name="T25" fmla="*/ 2147483647 h 51"/>
                <a:gd name="T26" fmla="*/ 2075281508 w 46"/>
                <a:gd name="T27" fmla="*/ 2147483647 h 51"/>
                <a:gd name="T28" fmla="*/ 2147483647 w 46"/>
                <a:gd name="T29" fmla="*/ 2147483647 h 51"/>
                <a:gd name="T30" fmla="*/ 2147483647 w 46"/>
                <a:gd name="T31" fmla="*/ 2147483647 h 51"/>
                <a:gd name="T32" fmla="*/ 2147483647 w 46"/>
                <a:gd name="T33" fmla="*/ 2147483647 h 51"/>
                <a:gd name="T34" fmla="*/ 2147483647 w 46"/>
                <a:gd name="T35" fmla="*/ 2147483647 h 51"/>
                <a:gd name="T36" fmla="*/ 2147483647 w 46"/>
                <a:gd name="T37" fmla="*/ 2147483647 h 51"/>
                <a:gd name="T38" fmla="*/ 2147483647 w 46"/>
                <a:gd name="T39" fmla="*/ 2147483647 h 51"/>
                <a:gd name="T40" fmla="*/ 2147483647 w 46"/>
                <a:gd name="T41" fmla="*/ 2147483647 h 51"/>
                <a:gd name="T42" fmla="*/ 2147483647 w 46"/>
                <a:gd name="T43" fmla="*/ 2147483647 h 51"/>
                <a:gd name="T44" fmla="*/ 2147483647 w 46"/>
                <a:gd name="T45" fmla="*/ 2147483647 h 51"/>
                <a:gd name="T46" fmla="*/ 2147483647 w 46"/>
                <a:gd name="T47" fmla="*/ 2147483647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94" name="Freeform 440"/>
            <p:cNvSpPr>
              <a:spLocks/>
            </p:cNvSpPr>
            <p:nvPr/>
          </p:nvSpPr>
          <p:spPr bwMode="auto">
            <a:xfrm>
              <a:off x="8226591" y="5780761"/>
              <a:ext cx="104807" cy="93988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2147483647 h 158"/>
                <a:gd name="T4" fmla="*/ 325387524 w 192"/>
                <a:gd name="T5" fmla="*/ 2147483647 h 158"/>
                <a:gd name="T6" fmla="*/ 650477003 w 192"/>
                <a:gd name="T7" fmla="*/ 2147483647 h 158"/>
                <a:gd name="T8" fmla="*/ 1138557744 w 192"/>
                <a:gd name="T9" fmla="*/ 2147483647 h 158"/>
                <a:gd name="T10" fmla="*/ 1789332792 w 192"/>
                <a:gd name="T11" fmla="*/ 2147483647 h 158"/>
                <a:gd name="T12" fmla="*/ 2147483647 w 192"/>
                <a:gd name="T13" fmla="*/ 2147483647 h 158"/>
                <a:gd name="T14" fmla="*/ 2147483647 w 192"/>
                <a:gd name="T15" fmla="*/ 2147483647 h 158"/>
                <a:gd name="T16" fmla="*/ 2147483647 w 192"/>
                <a:gd name="T17" fmla="*/ 2147483647 h 158"/>
                <a:gd name="T18" fmla="*/ 2147483647 w 192"/>
                <a:gd name="T19" fmla="*/ 2147483647 h 158"/>
                <a:gd name="T20" fmla="*/ 2147483647 w 192"/>
                <a:gd name="T21" fmla="*/ 2147483647 h 158"/>
                <a:gd name="T22" fmla="*/ 2147483647 w 192"/>
                <a:gd name="T23" fmla="*/ 2147483647 h 158"/>
                <a:gd name="T24" fmla="*/ 2147483647 w 192"/>
                <a:gd name="T25" fmla="*/ 2147483647 h 158"/>
                <a:gd name="T26" fmla="*/ 2147483647 w 192"/>
                <a:gd name="T27" fmla="*/ 2147483647 h 158"/>
                <a:gd name="T28" fmla="*/ 2147483647 w 192"/>
                <a:gd name="T29" fmla="*/ 2147483647 h 158"/>
                <a:gd name="T30" fmla="*/ 2147483647 w 192"/>
                <a:gd name="T31" fmla="*/ 2147483647 h 158"/>
                <a:gd name="T32" fmla="*/ 2147483647 w 192"/>
                <a:gd name="T33" fmla="*/ 2147483647 h 158"/>
                <a:gd name="T34" fmla="*/ 2147483647 w 192"/>
                <a:gd name="T35" fmla="*/ 2147483647 h 158"/>
                <a:gd name="T36" fmla="*/ 2147483647 w 192"/>
                <a:gd name="T37" fmla="*/ 2147483647 h 158"/>
                <a:gd name="T38" fmla="*/ 2147483647 w 192"/>
                <a:gd name="T39" fmla="*/ 2147483647 h 158"/>
                <a:gd name="T40" fmla="*/ 2147483647 w 192"/>
                <a:gd name="T41" fmla="*/ 2147483647 h 158"/>
                <a:gd name="T42" fmla="*/ 2147483647 w 192"/>
                <a:gd name="T43" fmla="*/ 2147483647 h 158"/>
                <a:gd name="T44" fmla="*/ 2147483647 w 192"/>
                <a:gd name="T45" fmla="*/ 2147483647 h 158"/>
                <a:gd name="T46" fmla="*/ 2147483647 w 192"/>
                <a:gd name="T47" fmla="*/ 2147483647 h 158"/>
                <a:gd name="T48" fmla="*/ 2147483647 w 192"/>
                <a:gd name="T49" fmla="*/ 2147483647 h 158"/>
                <a:gd name="T50" fmla="*/ 2147483647 w 192"/>
                <a:gd name="T51" fmla="*/ 2147483647 h 158"/>
                <a:gd name="T52" fmla="*/ 2147483647 w 192"/>
                <a:gd name="T53" fmla="*/ 2147483647 h 158"/>
                <a:gd name="T54" fmla="*/ 2147483647 w 192"/>
                <a:gd name="T55" fmla="*/ 2147483647 h 158"/>
                <a:gd name="T56" fmla="*/ 2147483647 w 192"/>
                <a:gd name="T57" fmla="*/ 2147483647 h 158"/>
                <a:gd name="T58" fmla="*/ 2147483647 w 192"/>
                <a:gd name="T59" fmla="*/ 2147483647 h 158"/>
                <a:gd name="T60" fmla="*/ 2147483647 w 192"/>
                <a:gd name="T61" fmla="*/ 2147483647 h 158"/>
                <a:gd name="T62" fmla="*/ 2147483647 w 192"/>
                <a:gd name="T63" fmla="*/ 2147483647 h 158"/>
                <a:gd name="T64" fmla="*/ 2147483647 w 192"/>
                <a:gd name="T65" fmla="*/ 2147483647 h 158"/>
                <a:gd name="T66" fmla="*/ 2147483647 w 192"/>
                <a:gd name="T67" fmla="*/ 2147483647 h 158"/>
                <a:gd name="T68" fmla="*/ 2147483647 w 192"/>
                <a:gd name="T69" fmla="*/ 2147483647 h 158"/>
                <a:gd name="T70" fmla="*/ 2147483647 w 192"/>
                <a:gd name="T71" fmla="*/ 2147483647 h 158"/>
                <a:gd name="T72" fmla="*/ 2114422271 w 192"/>
                <a:gd name="T73" fmla="*/ 1262923894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95" name="Freeform 441"/>
            <p:cNvSpPr>
              <a:spLocks/>
            </p:cNvSpPr>
            <p:nvPr/>
          </p:nvSpPr>
          <p:spPr bwMode="auto">
            <a:xfrm>
              <a:off x="7943779" y="4709653"/>
              <a:ext cx="482444" cy="1074654"/>
            </a:xfrm>
            <a:custGeom>
              <a:avLst/>
              <a:gdLst>
                <a:gd name="T0" fmla="*/ 2147483647 w 884"/>
                <a:gd name="T1" fmla="*/ 2147483647 h 1818"/>
                <a:gd name="T2" fmla="*/ 2147483647 w 884"/>
                <a:gd name="T3" fmla="*/ 2147483647 h 1818"/>
                <a:gd name="T4" fmla="*/ 2147483647 w 884"/>
                <a:gd name="T5" fmla="*/ 2147483647 h 1818"/>
                <a:gd name="T6" fmla="*/ 2147483647 w 884"/>
                <a:gd name="T7" fmla="*/ 2147483647 h 1818"/>
                <a:gd name="T8" fmla="*/ 2147483647 w 884"/>
                <a:gd name="T9" fmla="*/ 2147483647 h 1818"/>
                <a:gd name="T10" fmla="*/ 2147483647 w 884"/>
                <a:gd name="T11" fmla="*/ 2147483647 h 1818"/>
                <a:gd name="T12" fmla="*/ 2147483647 w 884"/>
                <a:gd name="T13" fmla="*/ 2147483647 h 1818"/>
                <a:gd name="T14" fmla="*/ 2147483647 w 884"/>
                <a:gd name="T15" fmla="*/ 2147483647 h 1818"/>
                <a:gd name="T16" fmla="*/ 2147483647 w 884"/>
                <a:gd name="T17" fmla="*/ 2147483647 h 1818"/>
                <a:gd name="T18" fmla="*/ 2147483647 w 884"/>
                <a:gd name="T19" fmla="*/ 2147483647 h 1818"/>
                <a:gd name="T20" fmla="*/ 2147483647 w 884"/>
                <a:gd name="T21" fmla="*/ 2147483647 h 1818"/>
                <a:gd name="T22" fmla="*/ 2147483647 w 884"/>
                <a:gd name="T23" fmla="*/ 2065430014 h 1818"/>
                <a:gd name="T24" fmla="*/ 2147483647 w 884"/>
                <a:gd name="T25" fmla="*/ 2147483647 h 1818"/>
                <a:gd name="T26" fmla="*/ 2147483647 w 884"/>
                <a:gd name="T27" fmla="*/ 2147483647 h 1818"/>
                <a:gd name="T28" fmla="*/ 2147483647 w 884"/>
                <a:gd name="T29" fmla="*/ 1652414118 h 1818"/>
                <a:gd name="T30" fmla="*/ 2147483647 w 884"/>
                <a:gd name="T31" fmla="*/ 2147483647 h 1818"/>
                <a:gd name="T32" fmla="*/ 2147483647 w 884"/>
                <a:gd name="T33" fmla="*/ 2147483647 h 1818"/>
                <a:gd name="T34" fmla="*/ 2147483647 w 884"/>
                <a:gd name="T35" fmla="*/ 2147483647 h 1818"/>
                <a:gd name="T36" fmla="*/ 2147483647 w 884"/>
                <a:gd name="T37" fmla="*/ 2147483647 h 1818"/>
                <a:gd name="T38" fmla="*/ 2147483647 w 884"/>
                <a:gd name="T39" fmla="*/ 2147483647 h 1818"/>
                <a:gd name="T40" fmla="*/ 0 w 884"/>
                <a:gd name="T41" fmla="*/ 2147483647 h 1818"/>
                <a:gd name="T42" fmla="*/ 1950582216 w 884"/>
                <a:gd name="T43" fmla="*/ 2147483647 h 1818"/>
                <a:gd name="T44" fmla="*/ 2147483647 w 884"/>
                <a:gd name="T45" fmla="*/ 2147483647 h 1818"/>
                <a:gd name="T46" fmla="*/ 2147483647 w 884"/>
                <a:gd name="T47" fmla="*/ 2147483647 h 1818"/>
                <a:gd name="T48" fmla="*/ 2147483647 w 884"/>
                <a:gd name="T49" fmla="*/ 2147483647 h 1818"/>
                <a:gd name="T50" fmla="*/ 2147483647 w 884"/>
                <a:gd name="T51" fmla="*/ 2147483647 h 1818"/>
                <a:gd name="T52" fmla="*/ 2147483647 w 884"/>
                <a:gd name="T53" fmla="*/ 2147483647 h 1818"/>
                <a:gd name="T54" fmla="*/ 2147483647 w 884"/>
                <a:gd name="T55" fmla="*/ 2147483647 h 1818"/>
                <a:gd name="T56" fmla="*/ 2147483647 w 884"/>
                <a:gd name="T57" fmla="*/ 2147483647 h 1818"/>
                <a:gd name="T58" fmla="*/ 2147483647 w 884"/>
                <a:gd name="T59" fmla="*/ 2147483647 h 1818"/>
                <a:gd name="T60" fmla="*/ 2147483647 w 884"/>
                <a:gd name="T61" fmla="*/ 2147483647 h 1818"/>
                <a:gd name="T62" fmla="*/ 2147483647 w 884"/>
                <a:gd name="T63" fmla="*/ 2147483647 h 1818"/>
                <a:gd name="T64" fmla="*/ 2147483647 w 884"/>
                <a:gd name="T65" fmla="*/ 2147483647 h 1818"/>
                <a:gd name="T66" fmla="*/ 2147483647 w 884"/>
                <a:gd name="T67" fmla="*/ 2147483647 h 1818"/>
                <a:gd name="T68" fmla="*/ 2147483647 w 884"/>
                <a:gd name="T69" fmla="*/ 2147483647 h 1818"/>
                <a:gd name="T70" fmla="*/ 2147483647 w 884"/>
                <a:gd name="T71" fmla="*/ 2147483647 h 1818"/>
                <a:gd name="T72" fmla="*/ 2147483647 w 884"/>
                <a:gd name="T73" fmla="*/ 2147483647 h 1818"/>
                <a:gd name="T74" fmla="*/ 2147483647 w 884"/>
                <a:gd name="T75" fmla="*/ 2147483647 h 1818"/>
                <a:gd name="T76" fmla="*/ 2147483647 w 884"/>
                <a:gd name="T77" fmla="*/ 2147483647 h 1818"/>
                <a:gd name="T78" fmla="*/ 2147483647 w 884"/>
                <a:gd name="T79" fmla="*/ 2147483647 h 1818"/>
                <a:gd name="T80" fmla="*/ 2147483647 w 884"/>
                <a:gd name="T81" fmla="*/ 2147483647 h 1818"/>
                <a:gd name="T82" fmla="*/ 2147483647 w 884"/>
                <a:gd name="T83" fmla="*/ 2147483647 h 1818"/>
                <a:gd name="T84" fmla="*/ 2147483647 w 884"/>
                <a:gd name="T85" fmla="*/ 2147483647 h 1818"/>
                <a:gd name="T86" fmla="*/ 2147483647 w 884"/>
                <a:gd name="T87" fmla="*/ 2147483647 h 1818"/>
                <a:gd name="T88" fmla="*/ 2147483647 w 884"/>
                <a:gd name="T89" fmla="*/ 2147483647 h 1818"/>
                <a:gd name="T90" fmla="*/ 2147483647 w 884"/>
                <a:gd name="T91" fmla="*/ 2147483647 h 1818"/>
                <a:gd name="T92" fmla="*/ 2147483647 w 884"/>
                <a:gd name="T93" fmla="*/ 2147483647 h 1818"/>
                <a:gd name="T94" fmla="*/ 2147483647 w 884"/>
                <a:gd name="T95" fmla="*/ 2147483647 h 1818"/>
                <a:gd name="T96" fmla="*/ 2147483647 w 884"/>
                <a:gd name="T97" fmla="*/ 2147483647 h 1818"/>
                <a:gd name="T98" fmla="*/ 2147483647 w 884"/>
                <a:gd name="T99" fmla="*/ 2147483647 h 1818"/>
                <a:gd name="T100" fmla="*/ 2147483647 w 884"/>
                <a:gd name="T101" fmla="*/ 2147483647 h 1818"/>
                <a:gd name="T102" fmla="*/ 2147483647 w 884"/>
                <a:gd name="T103" fmla="*/ 2147483647 h 1818"/>
                <a:gd name="T104" fmla="*/ 2147483647 w 884"/>
                <a:gd name="T105" fmla="*/ 2147483647 h 1818"/>
                <a:gd name="T106" fmla="*/ 2147483647 w 884"/>
                <a:gd name="T107" fmla="*/ 2147483647 h 1818"/>
                <a:gd name="T108" fmla="*/ 2147483647 w 884"/>
                <a:gd name="T109" fmla="*/ 2147483647 h 1818"/>
                <a:gd name="T110" fmla="*/ 2147483647 w 884"/>
                <a:gd name="T111" fmla="*/ 2147483647 h 1818"/>
                <a:gd name="T112" fmla="*/ 2147483647 w 884"/>
                <a:gd name="T113" fmla="*/ 2147483647 h 1818"/>
                <a:gd name="T114" fmla="*/ 2147483647 w 884"/>
                <a:gd name="T115" fmla="*/ 2147483647 h 1818"/>
                <a:gd name="T116" fmla="*/ 2147483647 w 884"/>
                <a:gd name="T117" fmla="*/ 2147483647 h 1818"/>
                <a:gd name="T118" fmla="*/ 2147483647 w 884"/>
                <a:gd name="T119" fmla="*/ 214748364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96" name="Freeform 44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8444166" y="3912011"/>
              <a:ext cx="103666" cy="64528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1911003545 h 104"/>
                <a:gd name="T20" fmla="*/ 2147483647 w 186"/>
                <a:gd name="T21" fmla="*/ 1433252504 h 104"/>
                <a:gd name="T22" fmla="*/ 2147483647 w 186"/>
                <a:gd name="T23" fmla="*/ 716433909 h 104"/>
                <a:gd name="T24" fmla="*/ 2147483647 w 186"/>
                <a:gd name="T25" fmla="*/ 23868286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38682867 h 104"/>
                <a:gd name="T32" fmla="*/ 2147483647 w 186"/>
                <a:gd name="T33" fmla="*/ 477751041 h 104"/>
                <a:gd name="T34" fmla="*/ 2147483647 w 186"/>
                <a:gd name="T35" fmla="*/ 955502083 h 104"/>
                <a:gd name="T36" fmla="*/ 2147483647 w 186"/>
                <a:gd name="T37" fmla="*/ 1433252504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1211776954 w 186"/>
                <a:gd name="T47" fmla="*/ 2147483647 h 104"/>
                <a:gd name="T48" fmla="*/ 0 w 186"/>
                <a:gd name="T49" fmla="*/ 2147483647 h 104"/>
                <a:gd name="T50" fmla="*/ 1385109851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97" name="Freeform 450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568987" y="3478237"/>
              <a:ext cx="374792" cy="591510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180954618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98" name="Freeform 541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246802" y="3704087"/>
              <a:ext cx="125596" cy="138018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1382321317 h 237"/>
                <a:gd name="T48" fmla="*/ 2147483647 w 226"/>
                <a:gd name="T49" fmla="*/ 395094287 h 237"/>
                <a:gd name="T50" fmla="*/ 2147483647 w 226"/>
                <a:gd name="T51" fmla="*/ 1184943348 h 237"/>
                <a:gd name="T52" fmla="*/ 2147483647 w 226"/>
                <a:gd name="T53" fmla="*/ 2147483647 h 237"/>
                <a:gd name="T54" fmla="*/ 1716228771 w 226"/>
                <a:gd name="T55" fmla="*/ 2147483647 h 237"/>
                <a:gd name="T56" fmla="*/ 514837455 w 226"/>
                <a:gd name="T57" fmla="*/ 2147483647 h 237"/>
                <a:gd name="T58" fmla="*/ 0 w 226"/>
                <a:gd name="T59" fmla="*/ 2147483647 h 237"/>
                <a:gd name="T60" fmla="*/ 514837455 w 226"/>
                <a:gd name="T61" fmla="*/ 2147483647 h 237"/>
                <a:gd name="T62" fmla="*/ 1716228771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24" name="Group 423"/>
          <p:cNvGrpSpPr>
            <a:grpSpLocks/>
          </p:cNvGrpSpPr>
          <p:nvPr/>
        </p:nvGrpSpPr>
        <p:grpSpPr bwMode="auto">
          <a:xfrm>
            <a:off x="4549047" y="2133600"/>
            <a:ext cx="2240810" cy="3482781"/>
            <a:chOff x="5868471" y="1124744"/>
            <a:chExt cx="3096017" cy="4810948"/>
          </a:xfrm>
          <a:solidFill>
            <a:sysClr val="window" lastClr="FFFFFF">
              <a:lumMod val="95000"/>
            </a:sysClr>
          </a:solidFill>
        </p:grpSpPr>
        <p:sp>
          <p:nvSpPr>
            <p:cNvPr id="425" name="Freeform 4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8181015" y="5863994"/>
              <a:ext cx="41864" cy="64528"/>
            </a:xfrm>
            <a:custGeom>
              <a:avLst/>
              <a:gdLst>
                <a:gd name="T0" fmla="*/ 0 w 73"/>
                <a:gd name="T1" fmla="*/ 0 h 20"/>
                <a:gd name="T2" fmla="*/ 188447642 w 73"/>
                <a:gd name="T3" fmla="*/ 2147483647 h 20"/>
                <a:gd name="T4" fmla="*/ 754447775 w 73"/>
                <a:gd name="T5" fmla="*/ 2147483647 h 20"/>
                <a:gd name="T6" fmla="*/ 1508895550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6" name="Freeform 5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5868471" y="1461725"/>
              <a:ext cx="984825" cy="503680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646514735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1872592170 h 850"/>
                <a:gd name="T92" fmla="*/ 2147483647 w 1808"/>
                <a:gd name="T93" fmla="*/ 416092418 h 850"/>
                <a:gd name="T94" fmla="*/ 2147483647 w 1808"/>
                <a:gd name="T95" fmla="*/ 2080813482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7" name="Freeform 6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6446607" y="2157198"/>
              <a:ext cx="1734408" cy="869341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4FD1FF"/>
            </a:solidFill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8" name="Freeform 7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7493232" y="3908426"/>
              <a:ext cx="426624" cy="666793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094708059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1032923834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9" name="Freeform 8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870017" y="4544747"/>
              <a:ext cx="328939" cy="1276228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0" name="Freeform 9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750403" y="3734558"/>
              <a:ext cx="1214085" cy="1358681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1" name="Freeform 25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8202943" y="5871164"/>
              <a:ext cx="29904" cy="64528"/>
            </a:xfrm>
            <a:custGeom>
              <a:avLst/>
              <a:gdLst>
                <a:gd name="T0" fmla="*/ 0 w 53"/>
                <a:gd name="T1" fmla="*/ 2147483647 h 19"/>
                <a:gd name="T2" fmla="*/ 1257488026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1257488026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2" name="Freeform 29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909889" y="2447575"/>
              <a:ext cx="61800" cy="64528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1680051761 w 112"/>
                <a:gd name="T41" fmla="*/ 2147483647 h 36"/>
                <a:gd name="T42" fmla="*/ 1008092084 w 112"/>
                <a:gd name="T43" fmla="*/ 2147483647 h 36"/>
                <a:gd name="T44" fmla="*/ 168066204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3" name="Freeform 41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7973683" y="3263143"/>
              <a:ext cx="39871" cy="66320"/>
            </a:xfrm>
            <a:custGeom>
              <a:avLst/>
              <a:gdLst>
                <a:gd name="T0" fmla="*/ 0 w 80"/>
                <a:gd name="T1" fmla="*/ 2147483647 h 34"/>
                <a:gd name="T2" fmla="*/ 123698282 w 80"/>
                <a:gd name="T3" fmla="*/ 2147483647 h 34"/>
                <a:gd name="T4" fmla="*/ 247644762 w 80"/>
                <a:gd name="T5" fmla="*/ 2147483647 h 34"/>
                <a:gd name="T6" fmla="*/ 495290022 w 80"/>
                <a:gd name="T7" fmla="*/ 2147483647 h 34"/>
                <a:gd name="T8" fmla="*/ 866633066 w 80"/>
                <a:gd name="T9" fmla="*/ 2147483647 h 34"/>
                <a:gd name="T10" fmla="*/ 1609319652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1609319652 w 80"/>
                <a:gd name="T51" fmla="*/ 2147483647 h 34"/>
                <a:gd name="T52" fmla="*/ 866633066 w 80"/>
                <a:gd name="T53" fmla="*/ 2147483647 h 34"/>
                <a:gd name="T54" fmla="*/ 495290022 w 80"/>
                <a:gd name="T55" fmla="*/ 2147483647 h 34"/>
                <a:gd name="T56" fmla="*/ 247644762 w 80"/>
                <a:gd name="T57" fmla="*/ 2147483647 h 34"/>
                <a:gd name="T58" fmla="*/ 123698282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4FD1FF"/>
            </a:solidFill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4" name="Freeform 5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8111897" y="3539969"/>
              <a:ext cx="29263" cy="65013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5" name="Freeform 5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137908" y="3513964"/>
              <a:ext cx="16258" cy="65013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6" name="Freeform 5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87639" y="3143391"/>
              <a:ext cx="19508" cy="65013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7" name="Freeform 162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862043" y="4268709"/>
              <a:ext cx="412669" cy="469623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618341085 h 795"/>
                <a:gd name="T112" fmla="*/ 2147483647 w 758"/>
                <a:gd name="T113" fmla="*/ 618341085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8" name="Freeform 163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131175" y="3625219"/>
              <a:ext cx="149519" cy="243774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1020732377 h 414"/>
                <a:gd name="T28" fmla="*/ 2147483647 w 273"/>
                <a:gd name="T29" fmla="*/ 1429163938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657218706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9" name="Freeform 165"/>
            <p:cNvSpPr>
              <a:spLocks/>
            </p:cNvSpPr>
            <p:nvPr/>
          </p:nvSpPr>
          <p:spPr bwMode="auto">
            <a:xfrm>
              <a:off x="8027362" y="3517215"/>
              <a:ext cx="29263" cy="13003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0" name="Freeform 166"/>
            <p:cNvSpPr>
              <a:spLocks/>
            </p:cNvSpPr>
            <p:nvPr/>
          </p:nvSpPr>
          <p:spPr bwMode="auto">
            <a:xfrm>
              <a:off x="7838784" y="3439200"/>
              <a:ext cx="3252" cy="13003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1" name="Freeform 167"/>
            <p:cNvSpPr>
              <a:spLocks/>
            </p:cNvSpPr>
            <p:nvPr/>
          </p:nvSpPr>
          <p:spPr bwMode="auto">
            <a:xfrm>
              <a:off x="7890806" y="3484709"/>
              <a:ext cx="13005" cy="6501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2" name="Freeform 168"/>
            <p:cNvSpPr>
              <a:spLocks/>
            </p:cNvSpPr>
            <p:nvPr/>
          </p:nvSpPr>
          <p:spPr bwMode="auto">
            <a:xfrm>
              <a:off x="7772332" y="3495490"/>
              <a:ext cx="406689" cy="396804"/>
            </a:xfrm>
            <a:custGeom>
              <a:avLst/>
              <a:gdLst>
                <a:gd name="T0" fmla="*/ 1475848108 w 743"/>
                <a:gd name="T1" fmla="*/ 2147483647 h 672"/>
                <a:gd name="T2" fmla="*/ 2147483647 w 743"/>
                <a:gd name="T3" fmla="*/ 2147483647 h 672"/>
                <a:gd name="T4" fmla="*/ 2147483647 w 743"/>
                <a:gd name="T5" fmla="*/ 2147483647 h 672"/>
                <a:gd name="T6" fmla="*/ 2147483647 w 743"/>
                <a:gd name="T7" fmla="*/ 2147483647 h 672"/>
                <a:gd name="T8" fmla="*/ 2147483647 w 743"/>
                <a:gd name="T9" fmla="*/ 2147483647 h 672"/>
                <a:gd name="T10" fmla="*/ 2147483647 w 743"/>
                <a:gd name="T11" fmla="*/ 2147483647 h 672"/>
                <a:gd name="T12" fmla="*/ 2147483647 w 743"/>
                <a:gd name="T13" fmla="*/ 2147483647 h 672"/>
                <a:gd name="T14" fmla="*/ 2147483647 w 743"/>
                <a:gd name="T15" fmla="*/ 2147483647 h 672"/>
                <a:gd name="T16" fmla="*/ 2147483647 w 743"/>
                <a:gd name="T17" fmla="*/ 2147483647 h 672"/>
                <a:gd name="T18" fmla="*/ 2147483647 w 743"/>
                <a:gd name="T19" fmla="*/ 2147483647 h 672"/>
                <a:gd name="T20" fmla="*/ 2147483647 w 743"/>
                <a:gd name="T21" fmla="*/ 2147483647 h 672"/>
                <a:gd name="T22" fmla="*/ 2147483647 w 743"/>
                <a:gd name="T23" fmla="*/ 2147483647 h 672"/>
                <a:gd name="T24" fmla="*/ 2147483647 w 743"/>
                <a:gd name="T25" fmla="*/ 2147483647 h 672"/>
                <a:gd name="T26" fmla="*/ 2147483647 w 743"/>
                <a:gd name="T27" fmla="*/ 2147483647 h 672"/>
                <a:gd name="T28" fmla="*/ 2147483647 w 743"/>
                <a:gd name="T29" fmla="*/ 2147483647 h 672"/>
                <a:gd name="T30" fmla="*/ 2147483647 w 743"/>
                <a:gd name="T31" fmla="*/ 2147483647 h 672"/>
                <a:gd name="T32" fmla="*/ 2147483647 w 743"/>
                <a:gd name="T33" fmla="*/ 2147483647 h 672"/>
                <a:gd name="T34" fmla="*/ 2147483647 w 743"/>
                <a:gd name="T35" fmla="*/ 2147483647 h 672"/>
                <a:gd name="T36" fmla="*/ 2147483647 w 743"/>
                <a:gd name="T37" fmla="*/ 2147483647 h 672"/>
                <a:gd name="T38" fmla="*/ 2147483647 w 743"/>
                <a:gd name="T39" fmla="*/ 2147483647 h 672"/>
                <a:gd name="T40" fmla="*/ 2147483647 w 743"/>
                <a:gd name="T41" fmla="*/ 2147483647 h 672"/>
                <a:gd name="T42" fmla="*/ 2147483647 w 743"/>
                <a:gd name="T43" fmla="*/ 2147483647 h 672"/>
                <a:gd name="T44" fmla="*/ 2147483647 w 743"/>
                <a:gd name="T45" fmla="*/ 2147483647 h 672"/>
                <a:gd name="T46" fmla="*/ 2147483647 w 743"/>
                <a:gd name="T47" fmla="*/ 2147483647 h 672"/>
                <a:gd name="T48" fmla="*/ 2147483647 w 743"/>
                <a:gd name="T49" fmla="*/ 2147483647 h 672"/>
                <a:gd name="T50" fmla="*/ 2147483647 w 743"/>
                <a:gd name="T51" fmla="*/ 2147483647 h 672"/>
                <a:gd name="T52" fmla="*/ 2147483647 w 743"/>
                <a:gd name="T53" fmla="*/ 2147483647 h 672"/>
                <a:gd name="T54" fmla="*/ 2147483647 w 743"/>
                <a:gd name="T55" fmla="*/ 2147483647 h 672"/>
                <a:gd name="T56" fmla="*/ 2147483647 w 743"/>
                <a:gd name="T57" fmla="*/ 2147483647 h 672"/>
                <a:gd name="T58" fmla="*/ 2147483647 w 743"/>
                <a:gd name="T59" fmla="*/ 2147483647 h 672"/>
                <a:gd name="T60" fmla="*/ 2147483647 w 743"/>
                <a:gd name="T61" fmla="*/ 2147483647 h 672"/>
                <a:gd name="T62" fmla="*/ 2147483647 w 743"/>
                <a:gd name="T63" fmla="*/ 2147483647 h 672"/>
                <a:gd name="T64" fmla="*/ 2147483647 w 743"/>
                <a:gd name="T65" fmla="*/ 2147483647 h 672"/>
                <a:gd name="T66" fmla="*/ 2147483647 w 743"/>
                <a:gd name="T67" fmla="*/ 2147483647 h 672"/>
                <a:gd name="T68" fmla="*/ 2147483647 w 743"/>
                <a:gd name="T69" fmla="*/ 2147483647 h 672"/>
                <a:gd name="T70" fmla="*/ 2147483647 w 743"/>
                <a:gd name="T71" fmla="*/ 2147483647 h 672"/>
                <a:gd name="T72" fmla="*/ 2147483647 w 743"/>
                <a:gd name="T73" fmla="*/ 2147483647 h 672"/>
                <a:gd name="T74" fmla="*/ 2147483647 w 743"/>
                <a:gd name="T75" fmla="*/ 2147483647 h 672"/>
                <a:gd name="T76" fmla="*/ 2147483647 w 743"/>
                <a:gd name="T77" fmla="*/ 2147483647 h 672"/>
                <a:gd name="T78" fmla="*/ 2147483647 w 743"/>
                <a:gd name="T79" fmla="*/ 2147483647 h 672"/>
                <a:gd name="T80" fmla="*/ 2147483647 w 743"/>
                <a:gd name="T81" fmla="*/ 2147483647 h 672"/>
                <a:gd name="T82" fmla="*/ 2147483647 w 743"/>
                <a:gd name="T83" fmla="*/ 2147483647 h 672"/>
                <a:gd name="T84" fmla="*/ 2147483647 w 743"/>
                <a:gd name="T85" fmla="*/ 2147483647 h 672"/>
                <a:gd name="T86" fmla="*/ 2147483647 w 743"/>
                <a:gd name="T87" fmla="*/ 2147483647 h 672"/>
                <a:gd name="T88" fmla="*/ 2147483647 w 743"/>
                <a:gd name="T89" fmla="*/ 2147483647 h 672"/>
                <a:gd name="T90" fmla="*/ 2147483647 w 743"/>
                <a:gd name="T91" fmla="*/ 2147483647 h 672"/>
                <a:gd name="T92" fmla="*/ 2147483647 w 743"/>
                <a:gd name="T93" fmla="*/ 2058891364 h 672"/>
                <a:gd name="T94" fmla="*/ 2147483647 w 743"/>
                <a:gd name="T95" fmla="*/ 2147483647 h 672"/>
                <a:gd name="T96" fmla="*/ 2147483647 w 743"/>
                <a:gd name="T97" fmla="*/ 2147483647 h 672"/>
                <a:gd name="T98" fmla="*/ 2147483647 w 743"/>
                <a:gd name="T99" fmla="*/ 2147483647 h 672"/>
                <a:gd name="T100" fmla="*/ 2147483647 w 743"/>
                <a:gd name="T101" fmla="*/ 2147483647 h 672"/>
                <a:gd name="T102" fmla="*/ 2147483647 w 743"/>
                <a:gd name="T103" fmla="*/ 2147483647 h 672"/>
                <a:gd name="T104" fmla="*/ 2147483647 w 743"/>
                <a:gd name="T105" fmla="*/ 2147483647 h 672"/>
                <a:gd name="T106" fmla="*/ 2147483647 w 743"/>
                <a:gd name="T107" fmla="*/ 2147483647 h 672"/>
                <a:gd name="T108" fmla="*/ 2147483647 w 743"/>
                <a:gd name="T109" fmla="*/ 2147483647 h 672"/>
                <a:gd name="T110" fmla="*/ 2147483647 w 743"/>
                <a:gd name="T111" fmla="*/ 2147483647 h 672"/>
                <a:gd name="T112" fmla="*/ 2147483647 w 743"/>
                <a:gd name="T113" fmla="*/ 2147483647 h 672"/>
                <a:gd name="T114" fmla="*/ 2147483647 w 743"/>
                <a:gd name="T115" fmla="*/ 2147483647 h 672"/>
                <a:gd name="T116" fmla="*/ 2147483647 w 743"/>
                <a:gd name="T117" fmla="*/ 2147483647 h 672"/>
                <a:gd name="T118" fmla="*/ 163883078 w 743"/>
                <a:gd name="T119" fmla="*/ 2147483647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3" name="Freeform 193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6538311" y="2757671"/>
              <a:ext cx="839293" cy="656038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980882002 w 1535"/>
                <a:gd name="T71" fmla="*/ 2147483647 h 1109"/>
                <a:gd name="T72" fmla="*/ 2147483647 w 1535"/>
                <a:gd name="T73" fmla="*/ 1035125624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4" name="Freeform 194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8139149" y="4609276"/>
              <a:ext cx="265146" cy="299340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1666127626 h 505"/>
                <a:gd name="T80" fmla="*/ 2147483647 w 486"/>
                <a:gd name="T81" fmla="*/ 416707361 h 505"/>
                <a:gd name="T82" fmla="*/ 2147483647 w 486"/>
                <a:gd name="T83" fmla="*/ 208353681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5" name="Freeform 195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352462" y="3711256"/>
              <a:ext cx="91704" cy="123679"/>
            </a:xfrm>
            <a:custGeom>
              <a:avLst/>
              <a:gdLst>
                <a:gd name="T0" fmla="*/ 1180142643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02277804 h 208"/>
                <a:gd name="T46" fmla="*/ 2147483647 w 166"/>
                <a:gd name="T47" fmla="*/ 1681893477 h 208"/>
                <a:gd name="T48" fmla="*/ 2147483647 w 166"/>
                <a:gd name="T49" fmla="*/ 1051138902 h 208"/>
                <a:gd name="T50" fmla="*/ 2147483647 w 166"/>
                <a:gd name="T51" fmla="*/ 630753981 h 208"/>
                <a:gd name="T52" fmla="*/ 2147483647 w 166"/>
                <a:gd name="T53" fmla="*/ 210369060 h 208"/>
                <a:gd name="T54" fmla="*/ 2147483647 w 166"/>
                <a:gd name="T55" fmla="*/ 0 h 208"/>
                <a:gd name="T56" fmla="*/ 2147483647 w 166"/>
                <a:gd name="T57" fmla="*/ 210369060 h 208"/>
                <a:gd name="T58" fmla="*/ 2147483647 w 166"/>
                <a:gd name="T59" fmla="*/ 1051138902 h 208"/>
                <a:gd name="T60" fmla="*/ 2147483647 w 166"/>
                <a:gd name="T61" fmla="*/ 2147483647 h 208"/>
                <a:gd name="T62" fmla="*/ 1854597389 w 166"/>
                <a:gd name="T63" fmla="*/ 2147483647 h 208"/>
                <a:gd name="T64" fmla="*/ 1180142643 w 166"/>
                <a:gd name="T65" fmla="*/ 2147483647 h 208"/>
                <a:gd name="T66" fmla="*/ 674454746 w 166"/>
                <a:gd name="T67" fmla="*/ 2147483647 h 208"/>
                <a:gd name="T68" fmla="*/ 33722709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337227097 w 166"/>
                <a:gd name="T75" fmla="*/ 2147483647 h 208"/>
                <a:gd name="T76" fmla="*/ 505688450 w 166"/>
                <a:gd name="T77" fmla="*/ 2147483647 h 208"/>
                <a:gd name="T78" fmla="*/ 842915546 w 166"/>
                <a:gd name="T79" fmla="*/ 2147483647 h 208"/>
                <a:gd name="T80" fmla="*/ 1685831093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1854597389 w 166"/>
                <a:gd name="T109" fmla="*/ 2147483647 h 208"/>
                <a:gd name="T110" fmla="*/ 1180142643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6" name="Freeform 196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7742429" y="3212954"/>
              <a:ext cx="87717" cy="66320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1682979011 w 164"/>
                <a:gd name="T27" fmla="*/ 2147483647 h 104"/>
                <a:gd name="T28" fmla="*/ 918014565 w 164"/>
                <a:gd name="T29" fmla="*/ 2147483647 h 104"/>
                <a:gd name="T30" fmla="*/ 459150358 w 164"/>
                <a:gd name="T31" fmla="*/ 2147483647 h 104"/>
                <a:gd name="T32" fmla="*/ 153050119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153050119 w 164"/>
                <a:gd name="T41" fmla="*/ 2147483647 h 104"/>
                <a:gd name="T42" fmla="*/ 459150358 w 164"/>
                <a:gd name="T43" fmla="*/ 2147483647 h 104"/>
                <a:gd name="T44" fmla="*/ 918014565 w 164"/>
                <a:gd name="T45" fmla="*/ 2147483647 h 104"/>
                <a:gd name="T46" fmla="*/ 1836029131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155584870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155584870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7" name="Freeform 197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8202943" y="5871164"/>
              <a:ext cx="29904" cy="64528"/>
            </a:xfrm>
            <a:custGeom>
              <a:avLst/>
              <a:gdLst>
                <a:gd name="T0" fmla="*/ 0 w 53"/>
                <a:gd name="T1" fmla="*/ 2147483647 h 19"/>
                <a:gd name="T2" fmla="*/ 1257488026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1257488026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8" name="Freeform 198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8159085" y="5847862"/>
              <a:ext cx="43859" cy="66320"/>
            </a:xfrm>
            <a:custGeom>
              <a:avLst/>
              <a:gdLst>
                <a:gd name="T0" fmla="*/ 0 w 80"/>
                <a:gd name="T1" fmla="*/ 0 h 18"/>
                <a:gd name="T2" fmla="*/ 164709185 w 80"/>
                <a:gd name="T3" fmla="*/ 2147483647 h 18"/>
                <a:gd name="T4" fmla="*/ 823846908 w 80"/>
                <a:gd name="T5" fmla="*/ 2147483647 h 18"/>
                <a:gd name="T6" fmla="*/ 1318275445 w 80"/>
                <a:gd name="T7" fmla="*/ 2147483647 h 18"/>
                <a:gd name="T8" fmla="*/ 1812703435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9" name="Freeform 199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8159085" y="5824560"/>
              <a:ext cx="27910" cy="68113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010370648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0" name="Freeform 200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8121208" y="5817390"/>
              <a:ext cx="31897" cy="68113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061005162 w 54"/>
                <a:gd name="T5" fmla="*/ 2147483647 h 39"/>
                <a:gd name="T6" fmla="*/ 1236533278 w 54"/>
                <a:gd name="T7" fmla="*/ 2147483647 h 39"/>
                <a:gd name="T8" fmla="*/ 824471884 w 54"/>
                <a:gd name="T9" fmla="*/ 2147483647 h 39"/>
                <a:gd name="T10" fmla="*/ 412061395 w 54"/>
                <a:gd name="T11" fmla="*/ 2147483647 h 39"/>
                <a:gd name="T12" fmla="*/ 0 w 54"/>
                <a:gd name="T13" fmla="*/ 2147483647 h 39"/>
                <a:gd name="T14" fmla="*/ 412061395 w 54"/>
                <a:gd name="T15" fmla="*/ 2147483647 h 39"/>
                <a:gd name="T16" fmla="*/ 618266639 w 54"/>
                <a:gd name="T17" fmla="*/ 2147483647 h 39"/>
                <a:gd name="T18" fmla="*/ 1030328034 w 54"/>
                <a:gd name="T19" fmla="*/ 2147483647 h 39"/>
                <a:gd name="T20" fmla="*/ 1648595264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1" name="Freeform 201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8089310" y="5806635"/>
              <a:ext cx="35884" cy="66321"/>
            </a:xfrm>
            <a:custGeom>
              <a:avLst/>
              <a:gdLst>
                <a:gd name="T0" fmla="*/ 0 w 60"/>
                <a:gd name="T1" fmla="*/ 2147483647 h 15"/>
                <a:gd name="T2" fmla="*/ 2139306595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1497264086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Freeform 202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8059406" y="5792296"/>
              <a:ext cx="41866" cy="64528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1488204873 w 79"/>
                <a:gd name="T13" fmla="*/ 2147483647 h 32"/>
                <a:gd name="T14" fmla="*/ 744242873 w 79"/>
                <a:gd name="T15" fmla="*/ 2147483647 h 32"/>
                <a:gd name="T16" fmla="*/ 0 w 79"/>
                <a:gd name="T17" fmla="*/ 2147483647 h 32"/>
                <a:gd name="T18" fmla="*/ 744242873 w 79"/>
                <a:gd name="T19" fmla="*/ 2147483647 h 32"/>
                <a:gd name="T20" fmla="*/ 1488204873 w 79"/>
                <a:gd name="T21" fmla="*/ 2147483647 h 32"/>
                <a:gd name="T22" fmla="*/ 1785901810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3" name="Freeform 203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8051432" y="5770786"/>
              <a:ext cx="37878" cy="64528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1701204284 w 66"/>
                <a:gd name="T9" fmla="*/ 2147483647 h 19"/>
                <a:gd name="T10" fmla="*/ 945296568 w 66"/>
                <a:gd name="T11" fmla="*/ 2147483647 h 19"/>
                <a:gd name="T12" fmla="*/ 37811885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Freeform 204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7925838" y="5421258"/>
              <a:ext cx="31897" cy="68113"/>
            </a:xfrm>
            <a:custGeom>
              <a:avLst/>
              <a:gdLst>
                <a:gd name="T0" fmla="*/ 2147483647 w 53"/>
                <a:gd name="T1" fmla="*/ 0 h 80"/>
                <a:gd name="T2" fmla="*/ 1743990743 w 53"/>
                <a:gd name="T3" fmla="*/ 2147483647 h 80"/>
                <a:gd name="T4" fmla="*/ 871814220 w 53"/>
                <a:gd name="T5" fmla="*/ 2147483647 h 80"/>
                <a:gd name="T6" fmla="*/ 436088562 w 53"/>
                <a:gd name="T7" fmla="*/ 2147483647 h 80"/>
                <a:gd name="T8" fmla="*/ 218044281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436088562 w 53"/>
                <a:gd name="T17" fmla="*/ 2147483647 h 80"/>
                <a:gd name="T18" fmla="*/ 1307902783 w 53"/>
                <a:gd name="T19" fmla="*/ 2147483647 h 80"/>
                <a:gd name="T20" fmla="*/ 1961672722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616892630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Freeform 205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7963715" y="5528805"/>
              <a:ext cx="21930" cy="60943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1530319795 w 41"/>
                <a:gd name="T17" fmla="*/ 2147483647 h 43"/>
                <a:gd name="T18" fmla="*/ 918077520 w 41"/>
                <a:gd name="T19" fmla="*/ 2147483647 h 43"/>
                <a:gd name="T20" fmla="*/ 459181572 w 41"/>
                <a:gd name="T21" fmla="*/ 2147483647 h 43"/>
                <a:gd name="T22" fmla="*/ 153060702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Freeform 206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7969696" y="5553900"/>
              <a:ext cx="9967" cy="66320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123679506 w 20"/>
                <a:gd name="T5" fmla="*/ 2147483647 h 24"/>
                <a:gd name="T6" fmla="*/ 247607689 w 20"/>
                <a:gd name="T7" fmla="*/ 2147483647 h 24"/>
                <a:gd name="T8" fmla="*/ 494967200 w 20"/>
                <a:gd name="T9" fmla="*/ 2147483647 h 24"/>
                <a:gd name="T10" fmla="*/ 866254396 w 20"/>
                <a:gd name="T11" fmla="*/ 2147483647 h 24"/>
                <a:gd name="T12" fmla="*/ 1237789770 w 20"/>
                <a:gd name="T13" fmla="*/ 2147483647 h 24"/>
                <a:gd name="T14" fmla="*/ 1732756970 w 20"/>
                <a:gd name="T15" fmla="*/ 2147483647 h 24"/>
                <a:gd name="T16" fmla="*/ 2104044165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Freeform 207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7987638" y="5623805"/>
              <a:ext cx="21930" cy="68113"/>
            </a:xfrm>
            <a:custGeom>
              <a:avLst/>
              <a:gdLst>
                <a:gd name="T0" fmla="*/ 0 w 39"/>
                <a:gd name="T1" fmla="*/ 2147483647 h 43"/>
                <a:gd name="T2" fmla="*/ 355713597 w 39"/>
                <a:gd name="T3" fmla="*/ 2147483647 h 43"/>
                <a:gd name="T4" fmla="*/ 1066824774 w 39"/>
                <a:gd name="T5" fmla="*/ 2147483647 h 43"/>
                <a:gd name="T6" fmla="*/ 2133649548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1066824774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208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7971689" y="5638145"/>
              <a:ext cx="33891" cy="66321"/>
            </a:xfrm>
            <a:custGeom>
              <a:avLst/>
              <a:gdLst>
                <a:gd name="T0" fmla="*/ 2147483647 w 55"/>
                <a:gd name="T1" fmla="*/ 2147483647 h 62"/>
                <a:gd name="T2" fmla="*/ 1871933029 w 55"/>
                <a:gd name="T3" fmla="*/ 0 h 62"/>
                <a:gd name="T4" fmla="*/ 935966515 w 55"/>
                <a:gd name="T5" fmla="*/ 2147483647 h 62"/>
                <a:gd name="T6" fmla="*/ 233896580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467793160 w 55"/>
                <a:gd name="T13" fmla="*/ 2147483647 h 62"/>
                <a:gd name="T14" fmla="*/ 935966515 w 55"/>
                <a:gd name="T15" fmla="*/ 2147483647 h 62"/>
                <a:gd name="T16" fmla="*/ 1871933029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209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8009568" y="5675787"/>
              <a:ext cx="13954" cy="66320"/>
            </a:xfrm>
            <a:custGeom>
              <a:avLst/>
              <a:gdLst>
                <a:gd name="T0" fmla="*/ 2091309104 w 35"/>
                <a:gd name="T1" fmla="*/ 2147483647 h 43"/>
                <a:gd name="T2" fmla="*/ 443630352 w 35"/>
                <a:gd name="T3" fmla="*/ 0 h 43"/>
                <a:gd name="T4" fmla="*/ 253525840 w 35"/>
                <a:gd name="T5" fmla="*/ 2147483647 h 43"/>
                <a:gd name="T6" fmla="*/ 0 w 35"/>
                <a:gd name="T7" fmla="*/ 2147483647 h 43"/>
                <a:gd name="T8" fmla="*/ 126683582 w 35"/>
                <a:gd name="T9" fmla="*/ 2147483647 h 43"/>
                <a:gd name="T10" fmla="*/ 316788094 w 35"/>
                <a:gd name="T11" fmla="*/ 2147483647 h 43"/>
                <a:gd name="T12" fmla="*/ 380209024 w 35"/>
                <a:gd name="T13" fmla="*/ 2147483647 h 43"/>
                <a:gd name="T14" fmla="*/ 506892605 w 35"/>
                <a:gd name="T15" fmla="*/ 2147483647 h 43"/>
                <a:gd name="T16" fmla="*/ 697156193 w 35"/>
                <a:gd name="T17" fmla="*/ 2147483647 h 43"/>
                <a:gd name="T18" fmla="*/ 887260704 w 35"/>
                <a:gd name="T19" fmla="*/ 2147483647 h 43"/>
                <a:gd name="T20" fmla="*/ 1140627469 w 35"/>
                <a:gd name="T21" fmla="*/ 2147483647 h 43"/>
                <a:gd name="T22" fmla="*/ 1394152911 w 35"/>
                <a:gd name="T23" fmla="*/ 2147483647 h 43"/>
                <a:gd name="T24" fmla="*/ 1647678752 w 35"/>
                <a:gd name="T25" fmla="*/ 2147483647 h 43"/>
                <a:gd name="T26" fmla="*/ 1774362333 w 35"/>
                <a:gd name="T27" fmla="*/ 2147483647 h 43"/>
                <a:gd name="T28" fmla="*/ 1964466845 w 35"/>
                <a:gd name="T29" fmla="*/ 2147483647 h 43"/>
                <a:gd name="T30" fmla="*/ 2091309104 w 35"/>
                <a:gd name="T31" fmla="*/ 2147483647 h 43"/>
                <a:gd name="T32" fmla="*/ 2147483647 w 35"/>
                <a:gd name="T33" fmla="*/ 2147483647 h 43"/>
                <a:gd name="T34" fmla="*/ 2091309104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Freeform 210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8005580" y="5713428"/>
              <a:ext cx="25916" cy="62736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1987659404 w 53"/>
                <a:gd name="T11" fmla="*/ 2147483647 h 21"/>
                <a:gd name="T12" fmla="*/ 1519974867 w 53"/>
                <a:gd name="T13" fmla="*/ 2147483647 h 21"/>
                <a:gd name="T14" fmla="*/ 935369074 w 53"/>
                <a:gd name="T15" fmla="*/ 2147483647 h 21"/>
                <a:gd name="T16" fmla="*/ 0 w 53"/>
                <a:gd name="T17" fmla="*/ 2147483647 h 21"/>
                <a:gd name="T18" fmla="*/ 584605793 w 53"/>
                <a:gd name="T19" fmla="*/ 2147483647 h 21"/>
                <a:gd name="T20" fmla="*/ 1286132843 w 53"/>
                <a:gd name="T21" fmla="*/ 2147483647 h 21"/>
                <a:gd name="T22" fmla="*/ 1987659404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Freeform 211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8035483" y="5729560"/>
              <a:ext cx="21930" cy="64528"/>
            </a:xfrm>
            <a:custGeom>
              <a:avLst/>
              <a:gdLst>
                <a:gd name="T0" fmla="*/ 2147483647 w 43"/>
                <a:gd name="T1" fmla="*/ 0 h 38"/>
                <a:gd name="T2" fmla="*/ 1591812000 w 43"/>
                <a:gd name="T3" fmla="*/ 0 h 38"/>
                <a:gd name="T4" fmla="*/ 265302000 w 43"/>
                <a:gd name="T5" fmla="*/ 0 h 38"/>
                <a:gd name="T6" fmla="*/ 132651000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132651000 w 43"/>
                <a:gd name="T15" fmla="*/ 2147483647 h 38"/>
                <a:gd name="T16" fmla="*/ 265302000 w 43"/>
                <a:gd name="T17" fmla="*/ 2147483647 h 38"/>
                <a:gd name="T18" fmla="*/ 397953000 w 43"/>
                <a:gd name="T19" fmla="*/ 2147483647 h 38"/>
                <a:gd name="T20" fmla="*/ 663255000 w 43"/>
                <a:gd name="T21" fmla="*/ 2147483647 h 38"/>
                <a:gd name="T22" fmla="*/ 1326510000 w 43"/>
                <a:gd name="T23" fmla="*/ 2147483647 h 38"/>
                <a:gd name="T24" fmla="*/ 1989765000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Freeform 212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8037478" y="5761824"/>
              <a:ext cx="7974" cy="64528"/>
            </a:xfrm>
            <a:custGeom>
              <a:avLst/>
              <a:gdLst>
                <a:gd name="T0" fmla="*/ 0 w 20"/>
                <a:gd name="T1" fmla="*/ 0 h 5"/>
                <a:gd name="T2" fmla="*/ 63425595 w 20"/>
                <a:gd name="T3" fmla="*/ 2147483647 h 5"/>
                <a:gd name="T4" fmla="*/ 126692507 w 20"/>
                <a:gd name="T5" fmla="*/ 2147483647 h 5"/>
                <a:gd name="T6" fmla="*/ 253544095 w 20"/>
                <a:gd name="T7" fmla="*/ 2147483647 h 5"/>
                <a:gd name="T8" fmla="*/ 443662196 w 20"/>
                <a:gd name="T9" fmla="*/ 2147483647 h 5"/>
                <a:gd name="T10" fmla="*/ 697205893 w 20"/>
                <a:gd name="T11" fmla="*/ 2147483647 h 5"/>
                <a:gd name="T12" fmla="*/ 887323994 w 20"/>
                <a:gd name="T13" fmla="*/ 2147483647 h 5"/>
                <a:gd name="T14" fmla="*/ 1077442494 w 20"/>
                <a:gd name="T15" fmla="*/ 2147483647 h 5"/>
                <a:gd name="T16" fmla="*/ 1267560596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213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8131175" y="5840692"/>
              <a:ext cx="43859" cy="64528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1301298933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Freeform 214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8179021" y="5774371"/>
              <a:ext cx="155499" cy="112925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1016671277 w 281"/>
                <a:gd name="T25" fmla="*/ 2147483647 h 193"/>
                <a:gd name="T26" fmla="*/ 0 w 281"/>
                <a:gd name="T27" fmla="*/ 2147483647 h 193"/>
                <a:gd name="T28" fmla="*/ 169343391 w 281"/>
                <a:gd name="T29" fmla="*/ 2147483647 h 193"/>
                <a:gd name="T30" fmla="*/ 1525007469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5" name="Freeform 215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7616833" y="3252388"/>
              <a:ext cx="65789" cy="66320"/>
            </a:xfrm>
            <a:custGeom>
              <a:avLst/>
              <a:gdLst>
                <a:gd name="T0" fmla="*/ 0 w 120"/>
                <a:gd name="T1" fmla="*/ 2147483647 h 56"/>
                <a:gd name="T2" fmla="*/ 659147666 w 120"/>
                <a:gd name="T3" fmla="*/ 2147483647 h 56"/>
                <a:gd name="T4" fmla="*/ 1647718948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1660598323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1318295333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6" name="Freeform 216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7435618" y="3097882"/>
              <a:ext cx="315381" cy="123524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Freeform 217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7820178" y="3212954"/>
              <a:ext cx="111640" cy="78868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1599801309 h 129"/>
                <a:gd name="T44" fmla="*/ 2147483647 w 207"/>
                <a:gd name="T45" fmla="*/ 0 h 129"/>
                <a:gd name="T46" fmla="*/ 0 w 207"/>
                <a:gd name="T47" fmla="*/ 0 h 129"/>
                <a:gd name="T48" fmla="*/ 156778695 w 207"/>
                <a:gd name="T49" fmla="*/ 1371044369 h 129"/>
                <a:gd name="T50" fmla="*/ 313848624 w 207"/>
                <a:gd name="T51" fmla="*/ 2147483647 h 129"/>
                <a:gd name="T52" fmla="*/ 627406553 w 207"/>
                <a:gd name="T53" fmla="*/ 2147483647 h 129"/>
                <a:gd name="T54" fmla="*/ 941255177 w 207"/>
                <a:gd name="T55" fmla="*/ 2147483647 h 129"/>
                <a:gd name="T56" fmla="*/ 1568662269 w 207"/>
                <a:gd name="T57" fmla="*/ 2147483647 h 129"/>
                <a:gd name="T58" fmla="*/ 2039289588 w 207"/>
                <a:gd name="T59" fmla="*/ 2147483647 h 129"/>
                <a:gd name="T60" fmla="*/ 2147483647 w 207"/>
                <a:gd name="T61" fmla="*/ 2147483647 h 129"/>
                <a:gd name="T62" fmla="*/ 2147483647 w 207"/>
                <a:gd name="T63" fmla="*/ 2147483647 h 129"/>
                <a:gd name="T64" fmla="*/ 2147483647 w 207"/>
                <a:gd name="T65" fmla="*/ 2147483647 h 129"/>
                <a:gd name="T66" fmla="*/ 2147483647 w 207"/>
                <a:gd name="T67" fmla="*/ 2147483647 h 129"/>
                <a:gd name="T68" fmla="*/ 1725731659 w 207"/>
                <a:gd name="T69" fmla="*/ 2147483647 h 129"/>
                <a:gd name="T70" fmla="*/ 1098034411 w 207"/>
                <a:gd name="T71" fmla="*/ 2147483647 h 129"/>
                <a:gd name="T72" fmla="*/ 0 w 207"/>
                <a:gd name="T73" fmla="*/ 2147483647 h 129"/>
                <a:gd name="T74" fmla="*/ 627406553 w 207"/>
                <a:gd name="T75" fmla="*/ 2147483647 h 129"/>
                <a:gd name="T76" fmla="*/ 2039289588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4FD1FF"/>
            </a:solidFill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8" name="Freeform 218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7277926" y="3281067"/>
              <a:ext cx="41866" cy="95000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939184805 h 154"/>
                <a:gd name="T4" fmla="*/ 2147483647 w 72"/>
                <a:gd name="T5" fmla="*/ 2112784578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589664003 w 72"/>
                <a:gd name="T45" fmla="*/ 2147483647 h 154"/>
                <a:gd name="T46" fmla="*/ 1572887594 w 72"/>
                <a:gd name="T47" fmla="*/ 2147483647 h 154"/>
                <a:gd name="T48" fmla="*/ 1769329263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9" name="Freeform 219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7178247" y="3281067"/>
              <a:ext cx="117621" cy="164906"/>
            </a:xfrm>
            <a:custGeom>
              <a:avLst/>
              <a:gdLst>
                <a:gd name="T0" fmla="*/ 1328307694 w 214"/>
                <a:gd name="T1" fmla="*/ 2147483647 h 271"/>
                <a:gd name="T2" fmla="*/ 1992612414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676137723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0" name="Freeform 220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7238054" y="3406539"/>
              <a:ext cx="89711" cy="64528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1410964054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Freeform 221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7277926" y="3363520"/>
              <a:ext cx="179421" cy="98584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397109769 h 169"/>
                <a:gd name="T40" fmla="*/ 2147483647 w 332"/>
                <a:gd name="T41" fmla="*/ 198384842 h 169"/>
                <a:gd name="T42" fmla="*/ 2147483647 w 332"/>
                <a:gd name="T43" fmla="*/ 0 h 169"/>
                <a:gd name="T44" fmla="*/ 2147483647 w 332"/>
                <a:gd name="T45" fmla="*/ 198384842 h 169"/>
                <a:gd name="T46" fmla="*/ 2147483647 w 332"/>
                <a:gd name="T47" fmla="*/ 793878869 h 169"/>
                <a:gd name="T48" fmla="*/ 2147483647 w 332"/>
                <a:gd name="T49" fmla="*/ 1984866923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1736289983 w 332"/>
                <a:gd name="T67" fmla="*/ 2147483647 h 169"/>
                <a:gd name="T68" fmla="*/ 1104858846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Freeform 222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7299856" y="3397576"/>
              <a:ext cx="157492" cy="138020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1418063878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3" name="Freeform 223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7363650" y="3524841"/>
              <a:ext cx="105659" cy="112924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1779836163 w 205"/>
                <a:gd name="T43" fmla="*/ 2147483647 h 191"/>
                <a:gd name="T44" fmla="*/ 547764604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410690348 w 205"/>
                <a:gd name="T51" fmla="*/ 2147483647 h 191"/>
                <a:gd name="T52" fmla="*/ 1095263256 w 205"/>
                <a:gd name="T53" fmla="*/ 2147483647 h 191"/>
                <a:gd name="T54" fmla="*/ 1916910419 w 205"/>
                <a:gd name="T55" fmla="*/ 2147483647 h 191"/>
                <a:gd name="T56" fmla="*/ 2147483647 w 205"/>
                <a:gd name="T57" fmla="*/ 826678766 h 191"/>
                <a:gd name="T58" fmla="*/ 2147483647 w 205"/>
                <a:gd name="T59" fmla="*/ 0 h 191"/>
                <a:gd name="T60" fmla="*/ 2147483647 w 205"/>
                <a:gd name="T61" fmla="*/ 1239844033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4" name="Freeform 224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7465322" y="3585785"/>
              <a:ext cx="179421" cy="89623"/>
            </a:xfrm>
            <a:custGeom>
              <a:avLst/>
              <a:gdLst>
                <a:gd name="T0" fmla="*/ 486561939 w 329"/>
                <a:gd name="T1" fmla="*/ 2147483647 h 154"/>
                <a:gd name="T2" fmla="*/ 0 w 329"/>
                <a:gd name="T3" fmla="*/ 2147483647 h 154"/>
                <a:gd name="T4" fmla="*/ 324473880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788461252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1182692460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486561939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5" name="Freeform 225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8320565" y="5001824"/>
              <a:ext cx="167460" cy="175661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163819660 w 306"/>
                <a:gd name="T37" fmla="*/ 2147483647 h 293"/>
                <a:gd name="T38" fmla="*/ 0 w 306"/>
                <a:gd name="T39" fmla="*/ 2147483647 h 293"/>
                <a:gd name="T40" fmla="*/ 163819660 w 306"/>
                <a:gd name="T41" fmla="*/ 2147483647 h 293"/>
                <a:gd name="T42" fmla="*/ 655579085 w 306"/>
                <a:gd name="T43" fmla="*/ 2147483647 h 293"/>
                <a:gd name="T44" fmla="*/ 1802917593 w 306"/>
                <a:gd name="T45" fmla="*/ 2147483647 h 293"/>
                <a:gd name="T46" fmla="*/ 2147483647 w 306"/>
                <a:gd name="T47" fmla="*/ 1723830938 h 293"/>
                <a:gd name="T48" fmla="*/ 2147483647 w 306"/>
                <a:gd name="T49" fmla="*/ 430957585 h 293"/>
                <a:gd name="T50" fmla="*/ 2147483647 w 306"/>
                <a:gd name="T51" fmla="*/ 0 h 293"/>
                <a:gd name="T52" fmla="*/ 2147483647 w 306"/>
                <a:gd name="T53" fmla="*/ 1292873353 h 293"/>
                <a:gd name="T54" fmla="*/ 2147483647 w 306"/>
                <a:gd name="T55" fmla="*/ 1508531704 h 293"/>
                <a:gd name="T56" fmla="*/ 2147483647 w 306"/>
                <a:gd name="T57" fmla="*/ 861915169 h 293"/>
                <a:gd name="T58" fmla="*/ 2147483647 w 306"/>
                <a:gd name="T59" fmla="*/ 1077574119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6" name="Freeform 363"/>
            <p:cNvSpPr>
              <a:spLocks/>
            </p:cNvSpPr>
            <p:nvPr/>
          </p:nvSpPr>
          <p:spPr bwMode="auto">
            <a:xfrm>
              <a:off x="7496104" y="3863615"/>
              <a:ext cx="190505" cy="227642"/>
            </a:xfrm>
            <a:custGeom>
              <a:avLst/>
              <a:gdLst>
                <a:gd name="T0" fmla="*/ 2147483647 w 352"/>
                <a:gd name="T1" fmla="*/ 2147483647 h 387"/>
                <a:gd name="T2" fmla="*/ 2147483647 w 352"/>
                <a:gd name="T3" fmla="*/ 2147483647 h 387"/>
                <a:gd name="T4" fmla="*/ 2147483647 w 352"/>
                <a:gd name="T5" fmla="*/ 2147483647 h 387"/>
                <a:gd name="T6" fmla="*/ 2147483647 w 352"/>
                <a:gd name="T7" fmla="*/ 2147483647 h 387"/>
                <a:gd name="T8" fmla="*/ 2147483647 w 352"/>
                <a:gd name="T9" fmla="*/ 2147483647 h 387"/>
                <a:gd name="T10" fmla="*/ 2147483647 w 352"/>
                <a:gd name="T11" fmla="*/ 2147483647 h 387"/>
                <a:gd name="T12" fmla="*/ 2147483647 w 352"/>
                <a:gd name="T13" fmla="*/ 1221052865 h 387"/>
                <a:gd name="T14" fmla="*/ 2147483647 w 352"/>
                <a:gd name="T15" fmla="*/ 2147483647 h 387"/>
                <a:gd name="T16" fmla="*/ 2147483647 w 352"/>
                <a:gd name="T17" fmla="*/ 2147483647 h 387"/>
                <a:gd name="T18" fmla="*/ 2147483647 w 352"/>
                <a:gd name="T19" fmla="*/ 2147483647 h 387"/>
                <a:gd name="T20" fmla="*/ 2147483647 w 352"/>
                <a:gd name="T21" fmla="*/ 2147483647 h 387"/>
                <a:gd name="T22" fmla="*/ 2147483647 w 352"/>
                <a:gd name="T23" fmla="*/ 2147483647 h 387"/>
                <a:gd name="T24" fmla="*/ 2147483647 w 352"/>
                <a:gd name="T25" fmla="*/ 2147483647 h 387"/>
                <a:gd name="T26" fmla="*/ 2147483647 w 352"/>
                <a:gd name="T27" fmla="*/ 2147483647 h 387"/>
                <a:gd name="T28" fmla="*/ 1109526016 w 352"/>
                <a:gd name="T29" fmla="*/ 2147483647 h 387"/>
                <a:gd name="T30" fmla="*/ 0 w 352"/>
                <a:gd name="T31" fmla="*/ 2147483647 h 387"/>
                <a:gd name="T32" fmla="*/ 0 w 352"/>
                <a:gd name="T33" fmla="*/ 2147483647 h 387"/>
                <a:gd name="T34" fmla="*/ 475678537 w 352"/>
                <a:gd name="T35" fmla="*/ 2147483647 h 387"/>
                <a:gd name="T36" fmla="*/ 1426742277 w 352"/>
                <a:gd name="T37" fmla="*/ 2147483647 h 387"/>
                <a:gd name="T38" fmla="*/ 2147483647 w 352"/>
                <a:gd name="T39" fmla="*/ 2147483647 h 387"/>
                <a:gd name="T40" fmla="*/ 2147483647 w 352"/>
                <a:gd name="T41" fmla="*/ 2147483647 h 387"/>
                <a:gd name="T42" fmla="*/ 2147483647 w 352"/>
                <a:gd name="T43" fmla="*/ 2147483647 h 387"/>
                <a:gd name="T44" fmla="*/ 2147483647 w 352"/>
                <a:gd name="T45" fmla="*/ 2147483647 h 387"/>
                <a:gd name="T46" fmla="*/ 2147483647 w 352"/>
                <a:gd name="T47" fmla="*/ 2147483647 h 387"/>
                <a:gd name="T48" fmla="*/ 2147483647 w 352"/>
                <a:gd name="T49" fmla="*/ 2147483647 h 387"/>
                <a:gd name="T50" fmla="*/ 2147483647 w 352"/>
                <a:gd name="T51" fmla="*/ 2147483647 h 387"/>
                <a:gd name="T52" fmla="*/ 2147483647 w 352"/>
                <a:gd name="T53" fmla="*/ 2147483647 h 387"/>
                <a:gd name="T54" fmla="*/ 2147483647 w 352"/>
                <a:gd name="T55" fmla="*/ 2147483647 h 387"/>
                <a:gd name="T56" fmla="*/ 2147483647 w 352"/>
                <a:gd name="T57" fmla="*/ 2147483647 h 387"/>
                <a:gd name="T58" fmla="*/ 2147483647 w 352"/>
                <a:gd name="T59" fmla="*/ 2147483647 h 387"/>
                <a:gd name="T60" fmla="*/ 2147483647 w 352"/>
                <a:gd name="T61" fmla="*/ 2147483647 h 387"/>
                <a:gd name="T62" fmla="*/ 2147483647 w 352"/>
                <a:gd name="T63" fmla="*/ 2147483647 h 387"/>
                <a:gd name="T64" fmla="*/ 2147483647 w 352"/>
                <a:gd name="T65" fmla="*/ 2147483647 h 387"/>
                <a:gd name="T66" fmla="*/ 2147483647 w 352"/>
                <a:gd name="T67" fmla="*/ 2147483647 h 387"/>
                <a:gd name="T68" fmla="*/ 2147483647 w 352"/>
                <a:gd name="T69" fmla="*/ 2147483647 h 387"/>
                <a:gd name="T70" fmla="*/ 2147483647 w 352"/>
                <a:gd name="T71" fmla="*/ 2147483647 h 387"/>
                <a:gd name="T72" fmla="*/ 2147483647 w 352"/>
                <a:gd name="T73" fmla="*/ 2147483647 h 387"/>
                <a:gd name="T74" fmla="*/ 2147483647 w 352"/>
                <a:gd name="T75" fmla="*/ 2147483647 h 387"/>
                <a:gd name="T76" fmla="*/ 2147483647 w 352"/>
                <a:gd name="T77" fmla="*/ 2147483647 h 387"/>
                <a:gd name="T78" fmla="*/ 2147483647 w 352"/>
                <a:gd name="T79" fmla="*/ 2147483647 h 387"/>
                <a:gd name="T80" fmla="*/ 2147483647 w 352"/>
                <a:gd name="T81" fmla="*/ 2147483647 h 387"/>
                <a:gd name="T82" fmla="*/ 2147483647 w 352"/>
                <a:gd name="T83" fmla="*/ 2147483647 h 387"/>
                <a:gd name="T84" fmla="*/ 2147483647 w 352"/>
                <a:gd name="T85" fmla="*/ 2147483647 h 387"/>
                <a:gd name="T86" fmla="*/ 2147483647 w 352"/>
                <a:gd name="T87" fmla="*/ 2147483647 h 387"/>
                <a:gd name="T88" fmla="*/ 2147483647 w 352"/>
                <a:gd name="T89" fmla="*/ 2147483647 h 387"/>
                <a:gd name="T90" fmla="*/ 2147483647 w 352"/>
                <a:gd name="T91" fmla="*/ 2147483647 h 387"/>
                <a:gd name="T92" fmla="*/ 2147483647 w 352"/>
                <a:gd name="T93" fmla="*/ 2147483647 h 387"/>
                <a:gd name="T94" fmla="*/ 2147483647 w 352"/>
                <a:gd name="T95" fmla="*/ 2147483647 h 387"/>
                <a:gd name="T96" fmla="*/ 2147483647 w 352"/>
                <a:gd name="T97" fmla="*/ 2147483647 h 387"/>
                <a:gd name="T98" fmla="*/ 2147483647 w 352"/>
                <a:gd name="T99" fmla="*/ 2147483647 h 387"/>
                <a:gd name="T100" fmla="*/ 2147483647 w 352"/>
                <a:gd name="T101" fmla="*/ 2147483647 h 387"/>
                <a:gd name="T102" fmla="*/ 2147483647 w 352"/>
                <a:gd name="T103" fmla="*/ 2147483647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77" name="Group 391"/>
            <p:cNvGrpSpPr>
              <a:grpSpLocks/>
            </p:cNvGrpSpPr>
            <p:nvPr>
              <p:custDataLst>
                <p:tags r:id="rId150"/>
              </p:custDataLst>
            </p:nvPr>
          </p:nvGrpSpPr>
          <p:grpSpPr bwMode="auto">
            <a:xfrm>
              <a:off x="6508407" y="1124744"/>
              <a:ext cx="2382319" cy="1279813"/>
              <a:chOff x="527" y="1110"/>
              <a:chExt cx="1410" cy="709"/>
            </a:xfrm>
            <a:grpFill/>
          </p:grpSpPr>
          <p:sp>
            <p:nvSpPr>
              <p:cNvPr id="484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5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6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7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8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9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0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1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2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3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4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5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6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7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8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9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0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1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2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3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4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5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6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7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8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9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0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1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2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3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4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5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6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7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8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9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0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1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2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3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4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5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chemeClr val="tx1">
                  <a:lumMod val="95000"/>
                </a:schemeClr>
              </a:solidFill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78" name="Freeform 439"/>
            <p:cNvSpPr>
              <a:spLocks/>
            </p:cNvSpPr>
            <p:nvPr/>
          </p:nvSpPr>
          <p:spPr bwMode="auto">
            <a:xfrm>
              <a:off x="8208292" y="5427862"/>
              <a:ext cx="24954" cy="30147"/>
            </a:xfrm>
            <a:custGeom>
              <a:avLst/>
              <a:gdLst>
                <a:gd name="T0" fmla="*/ 2147483647 w 46"/>
                <a:gd name="T1" fmla="*/ 2147483647 h 51"/>
                <a:gd name="T2" fmla="*/ 2147483647 w 46"/>
                <a:gd name="T3" fmla="*/ 0 h 51"/>
                <a:gd name="T4" fmla="*/ 2075281508 w 46"/>
                <a:gd name="T5" fmla="*/ 1032885874 h 51"/>
                <a:gd name="T6" fmla="*/ 1117391297 w 46"/>
                <a:gd name="T7" fmla="*/ 1858914856 h 51"/>
                <a:gd name="T8" fmla="*/ 638593474 w 46"/>
                <a:gd name="T9" fmla="*/ 2147483647 h 51"/>
                <a:gd name="T10" fmla="*/ 319296737 w 46"/>
                <a:gd name="T11" fmla="*/ 2147483647 h 51"/>
                <a:gd name="T12" fmla="*/ 0 w 46"/>
                <a:gd name="T13" fmla="*/ 2147483647 h 51"/>
                <a:gd name="T14" fmla="*/ 0 w 46"/>
                <a:gd name="T15" fmla="*/ 2147483647 h 51"/>
                <a:gd name="T16" fmla="*/ 0 w 46"/>
                <a:gd name="T17" fmla="*/ 2147483647 h 51"/>
                <a:gd name="T18" fmla="*/ 319296737 w 46"/>
                <a:gd name="T19" fmla="*/ 2147483647 h 51"/>
                <a:gd name="T20" fmla="*/ 638593474 w 46"/>
                <a:gd name="T21" fmla="*/ 2147483647 h 51"/>
                <a:gd name="T22" fmla="*/ 1117391297 w 46"/>
                <a:gd name="T23" fmla="*/ 2147483647 h 51"/>
                <a:gd name="T24" fmla="*/ 1596483685 w 46"/>
                <a:gd name="T25" fmla="*/ 2147483647 h 51"/>
                <a:gd name="T26" fmla="*/ 2075281508 w 46"/>
                <a:gd name="T27" fmla="*/ 2147483647 h 51"/>
                <a:gd name="T28" fmla="*/ 2147483647 w 46"/>
                <a:gd name="T29" fmla="*/ 2147483647 h 51"/>
                <a:gd name="T30" fmla="*/ 2147483647 w 46"/>
                <a:gd name="T31" fmla="*/ 2147483647 h 51"/>
                <a:gd name="T32" fmla="*/ 2147483647 w 46"/>
                <a:gd name="T33" fmla="*/ 2147483647 h 51"/>
                <a:gd name="T34" fmla="*/ 2147483647 w 46"/>
                <a:gd name="T35" fmla="*/ 2147483647 h 51"/>
                <a:gd name="T36" fmla="*/ 2147483647 w 46"/>
                <a:gd name="T37" fmla="*/ 2147483647 h 51"/>
                <a:gd name="T38" fmla="*/ 2147483647 w 46"/>
                <a:gd name="T39" fmla="*/ 2147483647 h 51"/>
                <a:gd name="T40" fmla="*/ 2147483647 w 46"/>
                <a:gd name="T41" fmla="*/ 2147483647 h 51"/>
                <a:gd name="T42" fmla="*/ 2147483647 w 46"/>
                <a:gd name="T43" fmla="*/ 2147483647 h 51"/>
                <a:gd name="T44" fmla="*/ 2147483647 w 46"/>
                <a:gd name="T45" fmla="*/ 2147483647 h 51"/>
                <a:gd name="T46" fmla="*/ 2147483647 w 46"/>
                <a:gd name="T47" fmla="*/ 2147483647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9" name="Freeform 440"/>
            <p:cNvSpPr>
              <a:spLocks/>
            </p:cNvSpPr>
            <p:nvPr/>
          </p:nvSpPr>
          <p:spPr bwMode="auto">
            <a:xfrm>
              <a:off x="8226591" y="5780761"/>
              <a:ext cx="104807" cy="93988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2147483647 h 158"/>
                <a:gd name="T4" fmla="*/ 325387524 w 192"/>
                <a:gd name="T5" fmla="*/ 2147483647 h 158"/>
                <a:gd name="T6" fmla="*/ 650477003 w 192"/>
                <a:gd name="T7" fmla="*/ 2147483647 h 158"/>
                <a:gd name="T8" fmla="*/ 1138557744 w 192"/>
                <a:gd name="T9" fmla="*/ 2147483647 h 158"/>
                <a:gd name="T10" fmla="*/ 1789332792 w 192"/>
                <a:gd name="T11" fmla="*/ 2147483647 h 158"/>
                <a:gd name="T12" fmla="*/ 2147483647 w 192"/>
                <a:gd name="T13" fmla="*/ 2147483647 h 158"/>
                <a:gd name="T14" fmla="*/ 2147483647 w 192"/>
                <a:gd name="T15" fmla="*/ 2147483647 h 158"/>
                <a:gd name="T16" fmla="*/ 2147483647 w 192"/>
                <a:gd name="T17" fmla="*/ 2147483647 h 158"/>
                <a:gd name="T18" fmla="*/ 2147483647 w 192"/>
                <a:gd name="T19" fmla="*/ 2147483647 h 158"/>
                <a:gd name="T20" fmla="*/ 2147483647 w 192"/>
                <a:gd name="T21" fmla="*/ 2147483647 h 158"/>
                <a:gd name="T22" fmla="*/ 2147483647 w 192"/>
                <a:gd name="T23" fmla="*/ 2147483647 h 158"/>
                <a:gd name="T24" fmla="*/ 2147483647 w 192"/>
                <a:gd name="T25" fmla="*/ 2147483647 h 158"/>
                <a:gd name="T26" fmla="*/ 2147483647 w 192"/>
                <a:gd name="T27" fmla="*/ 2147483647 h 158"/>
                <a:gd name="T28" fmla="*/ 2147483647 w 192"/>
                <a:gd name="T29" fmla="*/ 2147483647 h 158"/>
                <a:gd name="T30" fmla="*/ 2147483647 w 192"/>
                <a:gd name="T31" fmla="*/ 2147483647 h 158"/>
                <a:gd name="T32" fmla="*/ 2147483647 w 192"/>
                <a:gd name="T33" fmla="*/ 2147483647 h 158"/>
                <a:gd name="T34" fmla="*/ 2147483647 w 192"/>
                <a:gd name="T35" fmla="*/ 2147483647 h 158"/>
                <a:gd name="T36" fmla="*/ 2147483647 w 192"/>
                <a:gd name="T37" fmla="*/ 2147483647 h 158"/>
                <a:gd name="T38" fmla="*/ 2147483647 w 192"/>
                <a:gd name="T39" fmla="*/ 2147483647 h 158"/>
                <a:gd name="T40" fmla="*/ 2147483647 w 192"/>
                <a:gd name="T41" fmla="*/ 2147483647 h 158"/>
                <a:gd name="T42" fmla="*/ 2147483647 w 192"/>
                <a:gd name="T43" fmla="*/ 2147483647 h 158"/>
                <a:gd name="T44" fmla="*/ 2147483647 w 192"/>
                <a:gd name="T45" fmla="*/ 2147483647 h 158"/>
                <a:gd name="T46" fmla="*/ 2147483647 w 192"/>
                <a:gd name="T47" fmla="*/ 2147483647 h 158"/>
                <a:gd name="T48" fmla="*/ 2147483647 w 192"/>
                <a:gd name="T49" fmla="*/ 2147483647 h 158"/>
                <a:gd name="T50" fmla="*/ 2147483647 w 192"/>
                <a:gd name="T51" fmla="*/ 2147483647 h 158"/>
                <a:gd name="T52" fmla="*/ 2147483647 w 192"/>
                <a:gd name="T53" fmla="*/ 2147483647 h 158"/>
                <a:gd name="T54" fmla="*/ 2147483647 w 192"/>
                <a:gd name="T55" fmla="*/ 2147483647 h 158"/>
                <a:gd name="T56" fmla="*/ 2147483647 w 192"/>
                <a:gd name="T57" fmla="*/ 2147483647 h 158"/>
                <a:gd name="T58" fmla="*/ 2147483647 w 192"/>
                <a:gd name="T59" fmla="*/ 2147483647 h 158"/>
                <a:gd name="T60" fmla="*/ 2147483647 w 192"/>
                <a:gd name="T61" fmla="*/ 2147483647 h 158"/>
                <a:gd name="T62" fmla="*/ 2147483647 w 192"/>
                <a:gd name="T63" fmla="*/ 2147483647 h 158"/>
                <a:gd name="T64" fmla="*/ 2147483647 w 192"/>
                <a:gd name="T65" fmla="*/ 2147483647 h 158"/>
                <a:gd name="T66" fmla="*/ 2147483647 w 192"/>
                <a:gd name="T67" fmla="*/ 2147483647 h 158"/>
                <a:gd name="T68" fmla="*/ 2147483647 w 192"/>
                <a:gd name="T69" fmla="*/ 2147483647 h 158"/>
                <a:gd name="T70" fmla="*/ 2147483647 w 192"/>
                <a:gd name="T71" fmla="*/ 2147483647 h 158"/>
                <a:gd name="T72" fmla="*/ 2114422271 w 192"/>
                <a:gd name="T73" fmla="*/ 1262923894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0" name="Freeform 441"/>
            <p:cNvSpPr>
              <a:spLocks/>
            </p:cNvSpPr>
            <p:nvPr/>
          </p:nvSpPr>
          <p:spPr bwMode="auto">
            <a:xfrm>
              <a:off x="7943779" y="4709653"/>
              <a:ext cx="482444" cy="1074654"/>
            </a:xfrm>
            <a:custGeom>
              <a:avLst/>
              <a:gdLst>
                <a:gd name="T0" fmla="*/ 2147483647 w 884"/>
                <a:gd name="T1" fmla="*/ 2147483647 h 1818"/>
                <a:gd name="T2" fmla="*/ 2147483647 w 884"/>
                <a:gd name="T3" fmla="*/ 2147483647 h 1818"/>
                <a:gd name="T4" fmla="*/ 2147483647 w 884"/>
                <a:gd name="T5" fmla="*/ 2147483647 h 1818"/>
                <a:gd name="T6" fmla="*/ 2147483647 w 884"/>
                <a:gd name="T7" fmla="*/ 2147483647 h 1818"/>
                <a:gd name="T8" fmla="*/ 2147483647 w 884"/>
                <a:gd name="T9" fmla="*/ 2147483647 h 1818"/>
                <a:gd name="T10" fmla="*/ 2147483647 w 884"/>
                <a:gd name="T11" fmla="*/ 2147483647 h 1818"/>
                <a:gd name="T12" fmla="*/ 2147483647 w 884"/>
                <a:gd name="T13" fmla="*/ 2147483647 h 1818"/>
                <a:gd name="T14" fmla="*/ 2147483647 w 884"/>
                <a:gd name="T15" fmla="*/ 2147483647 h 1818"/>
                <a:gd name="T16" fmla="*/ 2147483647 w 884"/>
                <a:gd name="T17" fmla="*/ 2147483647 h 1818"/>
                <a:gd name="T18" fmla="*/ 2147483647 w 884"/>
                <a:gd name="T19" fmla="*/ 2147483647 h 1818"/>
                <a:gd name="T20" fmla="*/ 2147483647 w 884"/>
                <a:gd name="T21" fmla="*/ 2147483647 h 1818"/>
                <a:gd name="T22" fmla="*/ 2147483647 w 884"/>
                <a:gd name="T23" fmla="*/ 2065430014 h 1818"/>
                <a:gd name="T24" fmla="*/ 2147483647 w 884"/>
                <a:gd name="T25" fmla="*/ 2147483647 h 1818"/>
                <a:gd name="T26" fmla="*/ 2147483647 w 884"/>
                <a:gd name="T27" fmla="*/ 2147483647 h 1818"/>
                <a:gd name="T28" fmla="*/ 2147483647 w 884"/>
                <a:gd name="T29" fmla="*/ 1652414118 h 1818"/>
                <a:gd name="T30" fmla="*/ 2147483647 w 884"/>
                <a:gd name="T31" fmla="*/ 2147483647 h 1818"/>
                <a:gd name="T32" fmla="*/ 2147483647 w 884"/>
                <a:gd name="T33" fmla="*/ 2147483647 h 1818"/>
                <a:gd name="T34" fmla="*/ 2147483647 w 884"/>
                <a:gd name="T35" fmla="*/ 2147483647 h 1818"/>
                <a:gd name="T36" fmla="*/ 2147483647 w 884"/>
                <a:gd name="T37" fmla="*/ 2147483647 h 1818"/>
                <a:gd name="T38" fmla="*/ 2147483647 w 884"/>
                <a:gd name="T39" fmla="*/ 2147483647 h 1818"/>
                <a:gd name="T40" fmla="*/ 0 w 884"/>
                <a:gd name="T41" fmla="*/ 2147483647 h 1818"/>
                <a:gd name="T42" fmla="*/ 1950582216 w 884"/>
                <a:gd name="T43" fmla="*/ 2147483647 h 1818"/>
                <a:gd name="T44" fmla="*/ 2147483647 w 884"/>
                <a:gd name="T45" fmla="*/ 2147483647 h 1818"/>
                <a:gd name="T46" fmla="*/ 2147483647 w 884"/>
                <a:gd name="T47" fmla="*/ 2147483647 h 1818"/>
                <a:gd name="T48" fmla="*/ 2147483647 w 884"/>
                <a:gd name="T49" fmla="*/ 2147483647 h 1818"/>
                <a:gd name="T50" fmla="*/ 2147483647 w 884"/>
                <a:gd name="T51" fmla="*/ 2147483647 h 1818"/>
                <a:gd name="T52" fmla="*/ 2147483647 w 884"/>
                <a:gd name="T53" fmla="*/ 2147483647 h 1818"/>
                <a:gd name="T54" fmla="*/ 2147483647 w 884"/>
                <a:gd name="T55" fmla="*/ 2147483647 h 1818"/>
                <a:gd name="T56" fmla="*/ 2147483647 w 884"/>
                <a:gd name="T57" fmla="*/ 2147483647 h 1818"/>
                <a:gd name="T58" fmla="*/ 2147483647 w 884"/>
                <a:gd name="T59" fmla="*/ 2147483647 h 1818"/>
                <a:gd name="T60" fmla="*/ 2147483647 w 884"/>
                <a:gd name="T61" fmla="*/ 2147483647 h 1818"/>
                <a:gd name="T62" fmla="*/ 2147483647 w 884"/>
                <a:gd name="T63" fmla="*/ 2147483647 h 1818"/>
                <a:gd name="T64" fmla="*/ 2147483647 w 884"/>
                <a:gd name="T65" fmla="*/ 2147483647 h 1818"/>
                <a:gd name="T66" fmla="*/ 2147483647 w 884"/>
                <a:gd name="T67" fmla="*/ 2147483647 h 1818"/>
                <a:gd name="T68" fmla="*/ 2147483647 w 884"/>
                <a:gd name="T69" fmla="*/ 2147483647 h 1818"/>
                <a:gd name="T70" fmla="*/ 2147483647 w 884"/>
                <a:gd name="T71" fmla="*/ 2147483647 h 1818"/>
                <a:gd name="T72" fmla="*/ 2147483647 w 884"/>
                <a:gd name="T73" fmla="*/ 2147483647 h 1818"/>
                <a:gd name="T74" fmla="*/ 2147483647 w 884"/>
                <a:gd name="T75" fmla="*/ 2147483647 h 1818"/>
                <a:gd name="T76" fmla="*/ 2147483647 w 884"/>
                <a:gd name="T77" fmla="*/ 2147483647 h 1818"/>
                <a:gd name="T78" fmla="*/ 2147483647 w 884"/>
                <a:gd name="T79" fmla="*/ 2147483647 h 1818"/>
                <a:gd name="T80" fmla="*/ 2147483647 w 884"/>
                <a:gd name="T81" fmla="*/ 2147483647 h 1818"/>
                <a:gd name="T82" fmla="*/ 2147483647 w 884"/>
                <a:gd name="T83" fmla="*/ 2147483647 h 1818"/>
                <a:gd name="T84" fmla="*/ 2147483647 w 884"/>
                <a:gd name="T85" fmla="*/ 2147483647 h 1818"/>
                <a:gd name="T86" fmla="*/ 2147483647 w 884"/>
                <a:gd name="T87" fmla="*/ 2147483647 h 1818"/>
                <a:gd name="T88" fmla="*/ 2147483647 w 884"/>
                <a:gd name="T89" fmla="*/ 2147483647 h 1818"/>
                <a:gd name="T90" fmla="*/ 2147483647 w 884"/>
                <a:gd name="T91" fmla="*/ 2147483647 h 1818"/>
                <a:gd name="T92" fmla="*/ 2147483647 w 884"/>
                <a:gd name="T93" fmla="*/ 2147483647 h 1818"/>
                <a:gd name="T94" fmla="*/ 2147483647 w 884"/>
                <a:gd name="T95" fmla="*/ 2147483647 h 1818"/>
                <a:gd name="T96" fmla="*/ 2147483647 w 884"/>
                <a:gd name="T97" fmla="*/ 2147483647 h 1818"/>
                <a:gd name="T98" fmla="*/ 2147483647 w 884"/>
                <a:gd name="T99" fmla="*/ 2147483647 h 1818"/>
                <a:gd name="T100" fmla="*/ 2147483647 w 884"/>
                <a:gd name="T101" fmla="*/ 2147483647 h 1818"/>
                <a:gd name="T102" fmla="*/ 2147483647 w 884"/>
                <a:gd name="T103" fmla="*/ 2147483647 h 1818"/>
                <a:gd name="T104" fmla="*/ 2147483647 w 884"/>
                <a:gd name="T105" fmla="*/ 2147483647 h 1818"/>
                <a:gd name="T106" fmla="*/ 2147483647 w 884"/>
                <a:gd name="T107" fmla="*/ 2147483647 h 1818"/>
                <a:gd name="T108" fmla="*/ 2147483647 w 884"/>
                <a:gd name="T109" fmla="*/ 2147483647 h 1818"/>
                <a:gd name="T110" fmla="*/ 2147483647 w 884"/>
                <a:gd name="T111" fmla="*/ 2147483647 h 1818"/>
                <a:gd name="T112" fmla="*/ 2147483647 w 884"/>
                <a:gd name="T113" fmla="*/ 2147483647 h 1818"/>
                <a:gd name="T114" fmla="*/ 2147483647 w 884"/>
                <a:gd name="T115" fmla="*/ 2147483647 h 1818"/>
                <a:gd name="T116" fmla="*/ 2147483647 w 884"/>
                <a:gd name="T117" fmla="*/ 2147483647 h 1818"/>
                <a:gd name="T118" fmla="*/ 2147483647 w 884"/>
                <a:gd name="T119" fmla="*/ 214748364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1" name="Freeform 445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8444166" y="3912011"/>
              <a:ext cx="103666" cy="64528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1911003545 h 104"/>
                <a:gd name="T20" fmla="*/ 2147483647 w 186"/>
                <a:gd name="T21" fmla="*/ 1433252504 h 104"/>
                <a:gd name="T22" fmla="*/ 2147483647 w 186"/>
                <a:gd name="T23" fmla="*/ 716433909 h 104"/>
                <a:gd name="T24" fmla="*/ 2147483647 w 186"/>
                <a:gd name="T25" fmla="*/ 23868286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38682867 h 104"/>
                <a:gd name="T32" fmla="*/ 2147483647 w 186"/>
                <a:gd name="T33" fmla="*/ 477751041 h 104"/>
                <a:gd name="T34" fmla="*/ 2147483647 w 186"/>
                <a:gd name="T35" fmla="*/ 955502083 h 104"/>
                <a:gd name="T36" fmla="*/ 2147483647 w 186"/>
                <a:gd name="T37" fmla="*/ 1433252504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1211776954 w 186"/>
                <a:gd name="T47" fmla="*/ 2147483647 h 104"/>
                <a:gd name="T48" fmla="*/ 0 w 186"/>
                <a:gd name="T49" fmla="*/ 2147483647 h 104"/>
                <a:gd name="T50" fmla="*/ 1385109851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2" name="Freeform 450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7568987" y="3478237"/>
              <a:ext cx="374792" cy="591510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180954618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3" name="Freeform 541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8246802" y="3704087"/>
              <a:ext cx="125596" cy="138018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1382321317 h 237"/>
                <a:gd name="T48" fmla="*/ 2147483647 w 226"/>
                <a:gd name="T49" fmla="*/ 395094287 h 237"/>
                <a:gd name="T50" fmla="*/ 2147483647 w 226"/>
                <a:gd name="T51" fmla="*/ 1184943348 h 237"/>
                <a:gd name="T52" fmla="*/ 2147483647 w 226"/>
                <a:gd name="T53" fmla="*/ 2147483647 h 237"/>
                <a:gd name="T54" fmla="*/ 1716228771 w 226"/>
                <a:gd name="T55" fmla="*/ 2147483647 h 237"/>
                <a:gd name="T56" fmla="*/ 514837455 w 226"/>
                <a:gd name="T57" fmla="*/ 2147483647 h 237"/>
                <a:gd name="T58" fmla="*/ 0 w 226"/>
                <a:gd name="T59" fmla="*/ 2147483647 h 237"/>
                <a:gd name="T60" fmla="*/ 514837455 w 226"/>
                <a:gd name="T61" fmla="*/ 2147483647 h 237"/>
                <a:gd name="T62" fmla="*/ 1716228771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26" name="Group 525"/>
          <p:cNvGrpSpPr>
            <a:grpSpLocks/>
          </p:cNvGrpSpPr>
          <p:nvPr/>
        </p:nvGrpSpPr>
        <p:grpSpPr bwMode="auto">
          <a:xfrm>
            <a:off x="2384467" y="2133600"/>
            <a:ext cx="2240810" cy="3482781"/>
            <a:chOff x="5868471" y="1124744"/>
            <a:chExt cx="3096017" cy="4810948"/>
          </a:xfrm>
          <a:solidFill>
            <a:sysClr val="window" lastClr="FFFFFF">
              <a:lumMod val="95000"/>
            </a:sysClr>
          </a:solidFill>
        </p:grpSpPr>
        <p:sp>
          <p:nvSpPr>
            <p:cNvPr id="527" name="Freeform 4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8181015" y="5863994"/>
              <a:ext cx="41864" cy="64528"/>
            </a:xfrm>
            <a:custGeom>
              <a:avLst/>
              <a:gdLst>
                <a:gd name="T0" fmla="*/ 0 w 73"/>
                <a:gd name="T1" fmla="*/ 0 h 20"/>
                <a:gd name="T2" fmla="*/ 188447642 w 73"/>
                <a:gd name="T3" fmla="*/ 2147483647 h 20"/>
                <a:gd name="T4" fmla="*/ 754447775 w 73"/>
                <a:gd name="T5" fmla="*/ 2147483647 h 20"/>
                <a:gd name="T6" fmla="*/ 1508895550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8" name="Freeform 5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5868471" y="1461725"/>
              <a:ext cx="984825" cy="503680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646514735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1872592170 h 850"/>
                <a:gd name="T92" fmla="*/ 2147483647 w 1808"/>
                <a:gd name="T93" fmla="*/ 416092418 h 850"/>
                <a:gd name="T94" fmla="*/ 2147483647 w 1808"/>
                <a:gd name="T95" fmla="*/ 2080813482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9" name="Freeform 6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6446607" y="2157198"/>
              <a:ext cx="1734408" cy="869341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4FD1FF"/>
            </a:solidFill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0" name="Freeform 7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7493232" y="3908426"/>
              <a:ext cx="426624" cy="666793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094708059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1032923834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1" name="Freeform 8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7870017" y="4544747"/>
              <a:ext cx="328939" cy="1276228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2" name="Freeform 9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750403" y="3734558"/>
              <a:ext cx="1214085" cy="1358681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3" name="Freeform 25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202943" y="5871164"/>
              <a:ext cx="29904" cy="64528"/>
            </a:xfrm>
            <a:custGeom>
              <a:avLst/>
              <a:gdLst>
                <a:gd name="T0" fmla="*/ 0 w 53"/>
                <a:gd name="T1" fmla="*/ 2147483647 h 19"/>
                <a:gd name="T2" fmla="*/ 1257488026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1257488026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4" name="Freeform 2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7909889" y="2447575"/>
              <a:ext cx="61800" cy="64528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1680051761 w 112"/>
                <a:gd name="T41" fmla="*/ 2147483647 h 36"/>
                <a:gd name="T42" fmla="*/ 1008092084 w 112"/>
                <a:gd name="T43" fmla="*/ 2147483647 h 36"/>
                <a:gd name="T44" fmla="*/ 168066204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5" name="Freeform 41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973683" y="3263143"/>
              <a:ext cx="39871" cy="66320"/>
            </a:xfrm>
            <a:custGeom>
              <a:avLst/>
              <a:gdLst>
                <a:gd name="T0" fmla="*/ 0 w 80"/>
                <a:gd name="T1" fmla="*/ 2147483647 h 34"/>
                <a:gd name="T2" fmla="*/ 123698282 w 80"/>
                <a:gd name="T3" fmla="*/ 2147483647 h 34"/>
                <a:gd name="T4" fmla="*/ 247644762 w 80"/>
                <a:gd name="T5" fmla="*/ 2147483647 h 34"/>
                <a:gd name="T6" fmla="*/ 495290022 w 80"/>
                <a:gd name="T7" fmla="*/ 2147483647 h 34"/>
                <a:gd name="T8" fmla="*/ 866633066 w 80"/>
                <a:gd name="T9" fmla="*/ 2147483647 h 34"/>
                <a:gd name="T10" fmla="*/ 1609319652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1609319652 w 80"/>
                <a:gd name="T51" fmla="*/ 2147483647 h 34"/>
                <a:gd name="T52" fmla="*/ 866633066 w 80"/>
                <a:gd name="T53" fmla="*/ 2147483647 h 34"/>
                <a:gd name="T54" fmla="*/ 495290022 w 80"/>
                <a:gd name="T55" fmla="*/ 2147483647 h 34"/>
                <a:gd name="T56" fmla="*/ 247644762 w 80"/>
                <a:gd name="T57" fmla="*/ 2147483647 h 34"/>
                <a:gd name="T58" fmla="*/ 123698282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4FD1FF"/>
            </a:solidFill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6" name="Freeform 55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8111897" y="3539969"/>
              <a:ext cx="29263" cy="65013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7" name="Freeform 56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8137908" y="3513964"/>
              <a:ext cx="16258" cy="65013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8" name="Freeform 57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487639" y="3143391"/>
              <a:ext cx="19508" cy="65013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9" name="Freeform 162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62043" y="4268709"/>
              <a:ext cx="412669" cy="469623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618341085 h 795"/>
                <a:gd name="T112" fmla="*/ 2147483647 w 758"/>
                <a:gd name="T113" fmla="*/ 618341085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0" name="Freeform 163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8131175" y="3625219"/>
              <a:ext cx="149519" cy="243774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1020732377 h 414"/>
                <a:gd name="T28" fmla="*/ 2147483647 w 273"/>
                <a:gd name="T29" fmla="*/ 1429163938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657218706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1" name="Freeform 165"/>
            <p:cNvSpPr>
              <a:spLocks/>
            </p:cNvSpPr>
            <p:nvPr/>
          </p:nvSpPr>
          <p:spPr bwMode="auto">
            <a:xfrm>
              <a:off x="8027362" y="3517215"/>
              <a:ext cx="29263" cy="13003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2" name="Freeform 166"/>
            <p:cNvSpPr>
              <a:spLocks/>
            </p:cNvSpPr>
            <p:nvPr/>
          </p:nvSpPr>
          <p:spPr bwMode="auto">
            <a:xfrm>
              <a:off x="7838784" y="3439200"/>
              <a:ext cx="3252" cy="13003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3" name="Freeform 167"/>
            <p:cNvSpPr>
              <a:spLocks/>
            </p:cNvSpPr>
            <p:nvPr/>
          </p:nvSpPr>
          <p:spPr bwMode="auto">
            <a:xfrm>
              <a:off x="7890806" y="3484709"/>
              <a:ext cx="13005" cy="6501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4" name="Freeform 168"/>
            <p:cNvSpPr>
              <a:spLocks/>
            </p:cNvSpPr>
            <p:nvPr/>
          </p:nvSpPr>
          <p:spPr bwMode="auto">
            <a:xfrm>
              <a:off x="7772332" y="3495490"/>
              <a:ext cx="406689" cy="396804"/>
            </a:xfrm>
            <a:custGeom>
              <a:avLst/>
              <a:gdLst>
                <a:gd name="T0" fmla="*/ 1475848108 w 743"/>
                <a:gd name="T1" fmla="*/ 2147483647 h 672"/>
                <a:gd name="T2" fmla="*/ 2147483647 w 743"/>
                <a:gd name="T3" fmla="*/ 2147483647 h 672"/>
                <a:gd name="T4" fmla="*/ 2147483647 w 743"/>
                <a:gd name="T5" fmla="*/ 2147483647 h 672"/>
                <a:gd name="T6" fmla="*/ 2147483647 w 743"/>
                <a:gd name="T7" fmla="*/ 2147483647 h 672"/>
                <a:gd name="T8" fmla="*/ 2147483647 w 743"/>
                <a:gd name="T9" fmla="*/ 2147483647 h 672"/>
                <a:gd name="T10" fmla="*/ 2147483647 w 743"/>
                <a:gd name="T11" fmla="*/ 2147483647 h 672"/>
                <a:gd name="T12" fmla="*/ 2147483647 w 743"/>
                <a:gd name="T13" fmla="*/ 2147483647 h 672"/>
                <a:gd name="T14" fmla="*/ 2147483647 w 743"/>
                <a:gd name="T15" fmla="*/ 2147483647 h 672"/>
                <a:gd name="T16" fmla="*/ 2147483647 w 743"/>
                <a:gd name="T17" fmla="*/ 2147483647 h 672"/>
                <a:gd name="T18" fmla="*/ 2147483647 w 743"/>
                <a:gd name="T19" fmla="*/ 2147483647 h 672"/>
                <a:gd name="T20" fmla="*/ 2147483647 w 743"/>
                <a:gd name="T21" fmla="*/ 2147483647 h 672"/>
                <a:gd name="T22" fmla="*/ 2147483647 w 743"/>
                <a:gd name="T23" fmla="*/ 2147483647 h 672"/>
                <a:gd name="T24" fmla="*/ 2147483647 w 743"/>
                <a:gd name="T25" fmla="*/ 2147483647 h 672"/>
                <a:gd name="T26" fmla="*/ 2147483647 w 743"/>
                <a:gd name="T27" fmla="*/ 2147483647 h 672"/>
                <a:gd name="T28" fmla="*/ 2147483647 w 743"/>
                <a:gd name="T29" fmla="*/ 2147483647 h 672"/>
                <a:gd name="T30" fmla="*/ 2147483647 w 743"/>
                <a:gd name="T31" fmla="*/ 2147483647 h 672"/>
                <a:gd name="T32" fmla="*/ 2147483647 w 743"/>
                <a:gd name="T33" fmla="*/ 2147483647 h 672"/>
                <a:gd name="T34" fmla="*/ 2147483647 w 743"/>
                <a:gd name="T35" fmla="*/ 2147483647 h 672"/>
                <a:gd name="T36" fmla="*/ 2147483647 w 743"/>
                <a:gd name="T37" fmla="*/ 2147483647 h 672"/>
                <a:gd name="T38" fmla="*/ 2147483647 w 743"/>
                <a:gd name="T39" fmla="*/ 2147483647 h 672"/>
                <a:gd name="T40" fmla="*/ 2147483647 w 743"/>
                <a:gd name="T41" fmla="*/ 2147483647 h 672"/>
                <a:gd name="T42" fmla="*/ 2147483647 w 743"/>
                <a:gd name="T43" fmla="*/ 2147483647 h 672"/>
                <a:gd name="T44" fmla="*/ 2147483647 w 743"/>
                <a:gd name="T45" fmla="*/ 2147483647 h 672"/>
                <a:gd name="T46" fmla="*/ 2147483647 w 743"/>
                <a:gd name="T47" fmla="*/ 2147483647 h 672"/>
                <a:gd name="T48" fmla="*/ 2147483647 w 743"/>
                <a:gd name="T49" fmla="*/ 2147483647 h 672"/>
                <a:gd name="T50" fmla="*/ 2147483647 w 743"/>
                <a:gd name="T51" fmla="*/ 2147483647 h 672"/>
                <a:gd name="T52" fmla="*/ 2147483647 w 743"/>
                <a:gd name="T53" fmla="*/ 2147483647 h 672"/>
                <a:gd name="T54" fmla="*/ 2147483647 w 743"/>
                <a:gd name="T55" fmla="*/ 2147483647 h 672"/>
                <a:gd name="T56" fmla="*/ 2147483647 w 743"/>
                <a:gd name="T57" fmla="*/ 2147483647 h 672"/>
                <a:gd name="T58" fmla="*/ 2147483647 w 743"/>
                <a:gd name="T59" fmla="*/ 2147483647 h 672"/>
                <a:gd name="T60" fmla="*/ 2147483647 w 743"/>
                <a:gd name="T61" fmla="*/ 2147483647 h 672"/>
                <a:gd name="T62" fmla="*/ 2147483647 w 743"/>
                <a:gd name="T63" fmla="*/ 2147483647 h 672"/>
                <a:gd name="T64" fmla="*/ 2147483647 w 743"/>
                <a:gd name="T65" fmla="*/ 2147483647 h 672"/>
                <a:gd name="T66" fmla="*/ 2147483647 w 743"/>
                <a:gd name="T67" fmla="*/ 2147483647 h 672"/>
                <a:gd name="T68" fmla="*/ 2147483647 w 743"/>
                <a:gd name="T69" fmla="*/ 2147483647 h 672"/>
                <a:gd name="T70" fmla="*/ 2147483647 w 743"/>
                <a:gd name="T71" fmla="*/ 2147483647 h 672"/>
                <a:gd name="T72" fmla="*/ 2147483647 w 743"/>
                <a:gd name="T73" fmla="*/ 2147483647 h 672"/>
                <a:gd name="T74" fmla="*/ 2147483647 w 743"/>
                <a:gd name="T75" fmla="*/ 2147483647 h 672"/>
                <a:gd name="T76" fmla="*/ 2147483647 w 743"/>
                <a:gd name="T77" fmla="*/ 2147483647 h 672"/>
                <a:gd name="T78" fmla="*/ 2147483647 w 743"/>
                <a:gd name="T79" fmla="*/ 2147483647 h 672"/>
                <a:gd name="T80" fmla="*/ 2147483647 w 743"/>
                <a:gd name="T81" fmla="*/ 2147483647 h 672"/>
                <a:gd name="T82" fmla="*/ 2147483647 w 743"/>
                <a:gd name="T83" fmla="*/ 2147483647 h 672"/>
                <a:gd name="T84" fmla="*/ 2147483647 w 743"/>
                <a:gd name="T85" fmla="*/ 2147483647 h 672"/>
                <a:gd name="T86" fmla="*/ 2147483647 w 743"/>
                <a:gd name="T87" fmla="*/ 2147483647 h 672"/>
                <a:gd name="T88" fmla="*/ 2147483647 w 743"/>
                <a:gd name="T89" fmla="*/ 2147483647 h 672"/>
                <a:gd name="T90" fmla="*/ 2147483647 w 743"/>
                <a:gd name="T91" fmla="*/ 2147483647 h 672"/>
                <a:gd name="T92" fmla="*/ 2147483647 w 743"/>
                <a:gd name="T93" fmla="*/ 2058891364 h 672"/>
                <a:gd name="T94" fmla="*/ 2147483647 w 743"/>
                <a:gd name="T95" fmla="*/ 2147483647 h 672"/>
                <a:gd name="T96" fmla="*/ 2147483647 w 743"/>
                <a:gd name="T97" fmla="*/ 2147483647 h 672"/>
                <a:gd name="T98" fmla="*/ 2147483647 w 743"/>
                <a:gd name="T99" fmla="*/ 2147483647 h 672"/>
                <a:gd name="T100" fmla="*/ 2147483647 w 743"/>
                <a:gd name="T101" fmla="*/ 2147483647 h 672"/>
                <a:gd name="T102" fmla="*/ 2147483647 w 743"/>
                <a:gd name="T103" fmla="*/ 2147483647 h 672"/>
                <a:gd name="T104" fmla="*/ 2147483647 w 743"/>
                <a:gd name="T105" fmla="*/ 2147483647 h 672"/>
                <a:gd name="T106" fmla="*/ 2147483647 w 743"/>
                <a:gd name="T107" fmla="*/ 2147483647 h 672"/>
                <a:gd name="T108" fmla="*/ 2147483647 w 743"/>
                <a:gd name="T109" fmla="*/ 2147483647 h 672"/>
                <a:gd name="T110" fmla="*/ 2147483647 w 743"/>
                <a:gd name="T111" fmla="*/ 2147483647 h 672"/>
                <a:gd name="T112" fmla="*/ 2147483647 w 743"/>
                <a:gd name="T113" fmla="*/ 2147483647 h 672"/>
                <a:gd name="T114" fmla="*/ 2147483647 w 743"/>
                <a:gd name="T115" fmla="*/ 2147483647 h 672"/>
                <a:gd name="T116" fmla="*/ 2147483647 w 743"/>
                <a:gd name="T117" fmla="*/ 2147483647 h 672"/>
                <a:gd name="T118" fmla="*/ 163883078 w 743"/>
                <a:gd name="T119" fmla="*/ 2147483647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5" name="Freeform 193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6538311" y="2757671"/>
              <a:ext cx="839293" cy="656038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980882002 w 1535"/>
                <a:gd name="T71" fmla="*/ 2147483647 h 1109"/>
                <a:gd name="T72" fmla="*/ 2147483647 w 1535"/>
                <a:gd name="T73" fmla="*/ 1035125624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6" name="Freeform 194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8139149" y="4609276"/>
              <a:ext cx="265146" cy="299340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1666127626 h 505"/>
                <a:gd name="T80" fmla="*/ 2147483647 w 486"/>
                <a:gd name="T81" fmla="*/ 416707361 h 505"/>
                <a:gd name="T82" fmla="*/ 2147483647 w 486"/>
                <a:gd name="T83" fmla="*/ 208353681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7" name="Freeform 195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8352462" y="3711256"/>
              <a:ext cx="91704" cy="123679"/>
            </a:xfrm>
            <a:custGeom>
              <a:avLst/>
              <a:gdLst>
                <a:gd name="T0" fmla="*/ 1180142643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02277804 h 208"/>
                <a:gd name="T46" fmla="*/ 2147483647 w 166"/>
                <a:gd name="T47" fmla="*/ 1681893477 h 208"/>
                <a:gd name="T48" fmla="*/ 2147483647 w 166"/>
                <a:gd name="T49" fmla="*/ 1051138902 h 208"/>
                <a:gd name="T50" fmla="*/ 2147483647 w 166"/>
                <a:gd name="T51" fmla="*/ 630753981 h 208"/>
                <a:gd name="T52" fmla="*/ 2147483647 w 166"/>
                <a:gd name="T53" fmla="*/ 210369060 h 208"/>
                <a:gd name="T54" fmla="*/ 2147483647 w 166"/>
                <a:gd name="T55" fmla="*/ 0 h 208"/>
                <a:gd name="T56" fmla="*/ 2147483647 w 166"/>
                <a:gd name="T57" fmla="*/ 210369060 h 208"/>
                <a:gd name="T58" fmla="*/ 2147483647 w 166"/>
                <a:gd name="T59" fmla="*/ 1051138902 h 208"/>
                <a:gd name="T60" fmla="*/ 2147483647 w 166"/>
                <a:gd name="T61" fmla="*/ 2147483647 h 208"/>
                <a:gd name="T62" fmla="*/ 1854597389 w 166"/>
                <a:gd name="T63" fmla="*/ 2147483647 h 208"/>
                <a:gd name="T64" fmla="*/ 1180142643 w 166"/>
                <a:gd name="T65" fmla="*/ 2147483647 h 208"/>
                <a:gd name="T66" fmla="*/ 674454746 w 166"/>
                <a:gd name="T67" fmla="*/ 2147483647 h 208"/>
                <a:gd name="T68" fmla="*/ 33722709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337227097 w 166"/>
                <a:gd name="T75" fmla="*/ 2147483647 h 208"/>
                <a:gd name="T76" fmla="*/ 505688450 w 166"/>
                <a:gd name="T77" fmla="*/ 2147483647 h 208"/>
                <a:gd name="T78" fmla="*/ 842915546 w 166"/>
                <a:gd name="T79" fmla="*/ 2147483647 h 208"/>
                <a:gd name="T80" fmla="*/ 1685831093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1854597389 w 166"/>
                <a:gd name="T109" fmla="*/ 2147483647 h 208"/>
                <a:gd name="T110" fmla="*/ 1180142643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8" name="Freeform 196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7742429" y="3212954"/>
              <a:ext cx="87717" cy="66320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1682979011 w 164"/>
                <a:gd name="T27" fmla="*/ 2147483647 h 104"/>
                <a:gd name="T28" fmla="*/ 918014565 w 164"/>
                <a:gd name="T29" fmla="*/ 2147483647 h 104"/>
                <a:gd name="T30" fmla="*/ 459150358 w 164"/>
                <a:gd name="T31" fmla="*/ 2147483647 h 104"/>
                <a:gd name="T32" fmla="*/ 153050119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153050119 w 164"/>
                <a:gd name="T41" fmla="*/ 2147483647 h 104"/>
                <a:gd name="T42" fmla="*/ 459150358 w 164"/>
                <a:gd name="T43" fmla="*/ 2147483647 h 104"/>
                <a:gd name="T44" fmla="*/ 918014565 w 164"/>
                <a:gd name="T45" fmla="*/ 2147483647 h 104"/>
                <a:gd name="T46" fmla="*/ 1836029131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155584870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155584870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9" name="Freeform 197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8202943" y="5871164"/>
              <a:ext cx="29904" cy="64528"/>
            </a:xfrm>
            <a:custGeom>
              <a:avLst/>
              <a:gdLst>
                <a:gd name="T0" fmla="*/ 0 w 53"/>
                <a:gd name="T1" fmla="*/ 2147483647 h 19"/>
                <a:gd name="T2" fmla="*/ 1257488026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1257488026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0" name="Freeform 198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8159085" y="5847862"/>
              <a:ext cx="43859" cy="66320"/>
            </a:xfrm>
            <a:custGeom>
              <a:avLst/>
              <a:gdLst>
                <a:gd name="T0" fmla="*/ 0 w 80"/>
                <a:gd name="T1" fmla="*/ 0 h 18"/>
                <a:gd name="T2" fmla="*/ 164709185 w 80"/>
                <a:gd name="T3" fmla="*/ 2147483647 h 18"/>
                <a:gd name="T4" fmla="*/ 823846908 w 80"/>
                <a:gd name="T5" fmla="*/ 2147483647 h 18"/>
                <a:gd name="T6" fmla="*/ 1318275445 w 80"/>
                <a:gd name="T7" fmla="*/ 2147483647 h 18"/>
                <a:gd name="T8" fmla="*/ 1812703435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1" name="Freeform 199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8159085" y="5824560"/>
              <a:ext cx="27910" cy="68113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010370648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2" name="Freeform 200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8121208" y="5817390"/>
              <a:ext cx="31897" cy="68113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061005162 w 54"/>
                <a:gd name="T5" fmla="*/ 2147483647 h 39"/>
                <a:gd name="T6" fmla="*/ 1236533278 w 54"/>
                <a:gd name="T7" fmla="*/ 2147483647 h 39"/>
                <a:gd name="T8" fmla="*/ 824471884 w 54"/>
                <a:gd name="T9" fmla="*/ 2147483647 h 39"/>
                <a:gd name="T10" fmla="*/ 412061395 w 54"/>
                <a:gd name="T11" fmla="*/ 2147483647 h 39"/>
                <a:gd name="T12" fmla="*/ 0 w 54"/>
                <a:gd name="T13" fmla="*/ 2147483647 h 39"/>
                <a:gd name="T14" fmla="*/ 412061395 w 54"/>
                <a:gd name="T15" fmla="*/ 2147483647 h 39"/>
                <a:gd name="T16" fmla="*/ 618266639 w 54"/>
                <a:gd name="T17" fmla="*/ 2147483647 h 39"/>
                <a:gd name="T18" fmla="*/ 1030328034 w 54"/>
                <a:gd name="T19" fmla="*/ 2147483647 h 39"/>
                <a:gd name="T20" fmla="*/ 1648595264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3" name="Freeform 201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8089310" y="5806635"/>
              <a:ext cx="35884" cy="66321"/>
            </a:xfrm>
            <a:custGeom>
              <a:avLst/>
              <a:gdLst>
                <a:gd name="T0" fmla="*/ 0 w 60"/>
                <a:gd name="T1" fmla="*/ 2147483647 h 15"/>
                <a:gd name="T2" fmla="*/ 2139306595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1497264086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4" name="Freeform 202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8059406" y="5792296"/>
              <a:ext cx="41866" cy="64528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1488204873 w 79"/>
                <a:gd name="T13" fmla="*/ 2147483647 h 32"/>
                <a:gd name="T14" fmla="*/ 744242873 w 79"/>
                <a:gd name="T15" fmla="*/ 2147483647 h 32"/>
                <a:gd name="T16" fmla="*/ 0 w 79"/>
                <a:gd name="T17" fmla="*/ 2147483647 h 32"/>
                <a:gd name="T18" fmla="*/ 744242873 w 79"/>
                <a:gd name="T19" fmla="*/ 2147483647 h 32"/>
                <a:gd name="T20" fmla="*/ 1488204873 w 79"/>
                <a:gd name="T21" fmla="*/ 2147483647 h 32"/>
                <a:gd name="T22" fmla="*/ 1785901810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5" name="Freeform 203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8051432" y="5770786"/>
              <a:ext cx="37878" cy="64528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1701204284 w 66"/>
                <a:gd name="T9" fmla="*/ 2147483647 h 19"/>
                <a:gd name="T10" fmla="*/ 945296568 w 66"/>
                <a:gd name="T11" fmla="*/ 2147483647 h 19"/>
                <a:gd name="T12" fmla="*/ 37811885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6" name="Freeform 204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925838" y="5421258"/>
              <a:ext cx="31897" cy="68113"/>
            </a:xfrm>
            <a:custGeom>
              <a:avLst/>
              <a:gdLst>
                <a:gd name="T0" fmla="*/ 2147483647 w 53"/>
                <a:gd name="T1" fmla="*/ 0 h 80"/>
                <a:gd name="T2" fmla="*/ 1743990743 w 53"/>
                <a:gd name="T3" fmla="*/ 2147483647 h 80"/>
                <a:gd name="T4" fmla="*/ 871814220 w 53"/>
                <a:gd name="T5" fmla="*/ 2147483647 h 80"/>
                <a:gd name="T6" fmla="*/ 436088562 w 53"/>
                <a:gd name="T7" fmla="*/ 2147483647 h 80"/>
                <a:gd name="T8" fmla="*/ 218044281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436088562 w 53"/>
                <a:gd name="T17" fmla="*/ 2147483647 h 80"/>
                <a:gd name="T18" fmla="*/ 1307902783 w 53"/>
                <a:gd name="T19" fmla="*/ 2147483647 h 80"/>
                <a:gd name="T20" fmla="*/ 1961672722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616892630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7" name="Freeform 205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963715" y="5528805"/>
              <a:ext cx="21930" cy="60943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1530319795 w 41"/>
                <a:gd name="T17" fmla="*/ 2147483647 h 43"/>
                <a:gd name="T18" fmla="*/ 918077520 w 41"/>
                <a:gd name="T19" fmla="*/ 2147483647 h 43"/>
                <a:gd name="T20" fmla="*/ 459181572 w 41"/>
                <a:gd name="T21" fmla="*/ 2147483647 h 43"/>
                <a:gd name="T22" fmla="*/ 153060702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8" name="Freeform 206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969696" y="5553900"/>
              <a:ext cx="9967" cy="66320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123679506 w 20"/>
                <a:gd name="T5" fmla="*/ 2147483647 h 24"/>
                <a:gd name="T6" fmla="*/ 247607689 w 20"/>
                <a:gd name="T7" fmla="*/ 2147483647 h 24"/>
                <a:gd name="T8" fmla="*/ 494967200 w 20"/>
                <a:gd name="T9" fmla="*/ 2147483647 h 24"/>
                <a:gd name="T10" fmla="*/ 866254396 w 20"/>
                <a:gd name="T11" fmla="*/ 2147483647 h 24"/>
                <a:gd name="T12" fmla="*/ 1237789770 w 20"/>
                <a:gd name="T13" fmla="*/ 2147483647 h 24"/>
                <a:gd name="T14" fmla="*/ 1732756970 w 20"/>
                <a:gd name="T15" fmla="*/ 2147483647 h 24"/>
                <a:gd name="T16" fmla="*/ 2104044165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9" name="Freeform 207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987638" y="5623805"/>
              <a:ext cx="21930" cy="68113"/>
            </a:xfrm>
            <a:custGeom>
              <a:avLst/>
              <a:gdLst>
                <a:gd name="T0" fmla="*/ 0 w 39"/>
                <a:gd name="T1" fmla="*/ 2147483647 h 43"/>
                <a:gd name="T2" fmla="*/ 355713597 w 39"/>
                <a:gd name="T3" fmla="*/ 2147483647 h 43"/>
                <a:gd name="T4" fmla="*/ 1066824774 w 39"/>
                <a:gd name="T5" fmla="*/ 2147483647 h 43"/>
                <a:gd name="T6" fmla="*/ 2133649548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1066824774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0" name="Freeform 208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971689" y="5638145"/>
              <a:ext cx="33891" cy="66321"/>
            </a:xfrm>
            <a:custGeom>
              <a:avLst/>
              <a:gdLst>
                <a:gd name="T0" fmla="*/ 2147483647 w 55"/>
                <a:gd name="T1" fmla="*/ 2147483647 h 62"/>
                <a:gd name="T2" fmla="*/ 1871933029 w 55"/>
                <a:gd name="T3" fmla="*/ 0 h 62"/>
                <a:gd name="T4" fmla="*/ 935966515 w 55"/>
                <a:gd name="T5" fmla="*/ 2147483647 h 62"/>
                <a:gd name="T6" fmla="*/ 233896580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467793160 w 55"/>
                <a:gd name="T13" fmla="*/ 2147483647 h 62"/>
                <a:gd name="T14" fmla="*/ 935966515 w 55"/>
                <a:gd name="T15" fmla="*/ 2147483647 h 62"/>
                <a:gd name="T16" fmla="*/ 1871933029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1" name="Freeform 209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009568" y="5675787"/>
              <a:ext cx="13954" cy="66320"/>
            </a:xfrm>
            <a:custGeom>
              <a:avLst/>
              <a:gdLst>
                <a:gd name="T0" fmla="*/ 2091309104 w 35"/>
                <a:gd name="T1" fmla="*/ 2147483647 h 43"/>
                <a:gd name="T2" fmla="*/ 443630352 w 35"/>
                <a:gd name="T3" fmla="*/ 0 h 43"/>
                <a:gd name="T4" fmla="*/ 253525840 w 35"/>
                <a:gd name="T5" fmla="*/ 2147483647 h 43"/>
                <a:gd name="T6" fmla="*/ 0 w 35"/>
                <a:gd name="T7" fmla="*/ 2147483647 h 43"/>
                <a:gd name="T8" fmla="*/ 126683582 w 35"/>
                <a:gd name="T9" fmla="*/ 2147483647 h 43"/>
                <a:gd name="T10" fmla="*/ 316788094 w 35"/>
                <a:gd name="T11" fmla="*/ 2147483647 h 43"/>
                <a:gd name="T12" fmla="*/ 380209024 w 35"/>
                <a:gd name="T13" fmla="*/ 2147483647 h 43"/>
                <a:gd name="T14" fmla="*/ 506892605 w 35"/>
                <a:gd name="T15" fmla="*/ 2147483647 h 43"/>
                <a:gd name="T16" fmla="*/ 697156193 w 35"/>
                <a:gd name="T17" fmla="*/ 2147483647 h 43"/>
                <a:gd name="T18" fmla="*/ 887260704 w 35"/>
                <a:gd name="T19" fmla="*/ 2147483647 h 43"/>
                <a:gd name="T20" fmla="*/ 1140627469 w 35"/>
                <a:gd name="T21" fmla="*/ 2147483647 h 43"/>
                <a:gd name="T22" fmla="*/ 1394152911 w 35"/>
                <a:gd name="T23" fmla="*/ 2147483647 h 43"/>
                <a:gd name="T24" fmla="*/ 1647678752 w 35"/>
                <a:gd name="T25" fmla="*/ 2147483647 h 43"/>
                <a:gd name="T26" fmla="*/ 1774362333 w 35"/>
                <a:gd name="T27" fmla="*/ 2147483647 h 43"/>
                <a:gd name="T28" fmla="*/ 1964466845 w 35"/>
                <a:gd name="T29" fmla="*/ 2147483647 h 43"/>
                <a:gd name="T30" fmla="*/ 2091309104 w 35"/>
                <a:gd name="T31" fmla="*/ 2147483647 h 43"/>
                <a:gd name="T32" fmla="*/ 2147483647 w 35"/>
                <a:gd name="T33" fmla="*/ 2147483647 h 43"/>
                <a:gd name="T34" fmla="*/ 2091309104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2" name="Freeform 210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005580" y="5713428"/>
              <a:ext cx="25916" cy="62736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1987659404 w 53"/>
                <a:gd name="T11" fmla="*/ 2147483647 h 21"/>
                <a:gd name="T12" fmla="*/ 1519974867 w 53"/>
                <a:gd name="T13" fmla="*/ 2147483647 h 21"/>
                <a:gd name="T14" fmla="*/ 935369074 w 53"/>
                <a:gd name="T15" fmla="*/ 2147483647 h 21"/>
                <a:gd name="T16" fmla="*/ 0 w 53"/>
                <a:gd name="T17" fmla="*/ 2147483647 h 21"/>
                <a:gd name="T18" fmla="*/ 584605793 w 53"/>
                <a:gd name="T19" fmla="*/ 2147483647 h 21"/>
                <a:gd name="T20" fmla="*/ 1286132843 w 53"/>
                <a:gd name="T21" fmla="*/ 2147483647 h 21"/>
                <a:gd name="T22" fmla="*/ 1987659404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3" name="Freeform 211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8035483" y="5729560"/>
              <a:ext cx="21930" cy="64528"/>
            </a:xfrm>
            <a:custGeom>
              <a:avLst/>
              <a:gdLst>
                <a:gd name="T0" fmla="*/ 2147483647 w 43"/>
                <a:gd name="T1" fmla="*/ 0 h 38"/>
                <a:gd name="T2" fmla="*/ 1591812000 w 43"/>
                <a:gd name="T3" fmla="*/ 0 h 38"/>
                <a:gd name="T4" fmla="*/ 265302000 w 43"/>
                <a:gd name="T5" fmla="*/ 0 h 38"/>
                <a:gd name="T6" fmla="*/ 132651000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132651000 w 43"/>
                <a:gd name="T15" fmla="*/ 2147483647 h 38"/>
                <a:gd name="T16" fmla="*/ 265302000 w 43"/>
                <a:gd name="T17" fmla="*/ 2147483647 h 38"/>
                <a:gd name="T18" fmla="*/ 397953000 w 43"/>
                <a:gd name="T19" fmla="*/ 2147483647 h 38"/>
                <a:gd name="T20" fmla="*/ 663255000 w 43"/>
                <a:gd name="T21" fmla="*/ 2147483647 h 38"/>
                <a:gd name="T22" fmla="*/ 1326510000 w 43"/>
                <a:gd name="T23" fmla="*/ 2147483647 h 38"/>
                <a:gd name="T24" fmla="*/ 1989765000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4" name="Freeform 212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8037478" y="5761824"/>
              <a:ext cx="7974" cy="64528"/>
            </a:xfrm>
            <a:custGeom>
              <a:avLst/>
              <a:gdLst>
                <a:gd name="T0" fmla="*/ 0 w 20"/>
                <a:gd name="T1" fmla="*/ 0 h 5"/>
                <a:gd name="T2" fmla="*/ 63425595 w 20"/>
                <a:gd name="T3" fmla="*/ 2147483647 h 5"/>
                <a:gd name="T4" fmla="*/ 126692507 w 20"/>
                <a:gd name="T5" fmla="*/ 2147483647 h 5"/>
                <a:gd name="T6" fmla="*/ 253544095 w 20"/>
                <a:gd name="T7" fmla="*/ 2147483647 h 5"/>
                <a:gd name="T8" fmla="*/ 443662196 w 20"/>
                <a:gd name="T9" fmla="*/ 2147483647 h 5"/>
                <a:gd name="T10" fmla="*/ 697205893 w 20"/>
                <a:gd name="T11" fmla="*/ 2147483647 h 5"/>
                <a:gd name="T12" fmla="*/ 887323994 w 20"/>
                <a:gd name="T13" fmla="*/ 2147483647 h 5"/>
                <a:gd name="T14" fmla="*/ 1077442494 w 20"/>
                <a:gd name="T15" fmla="*/ 2147483647 h 5"/>
                <a:gd name="T16" fmla="*/ 1267560596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5" name="Freeform 213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8131175" y="5840692"/>
              <a:ext cx="43859" cy="64528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1301298933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6" name="Freeform 214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8179021" y="5774371"/>
              <a:ext cx="155499" cy="112925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1016671277 w 281"/>
                <a:gd name="T25" fmla="*/ 2147483647 h 193"/>
                <a:gd name="T26" fmla="*/ 0 w 281"/>
                <a:gd name="T27" fmla="*/ 2147483647 h 193"/>
                <a:gd name="T28" fmla="*/ 169343391 w 281"/>
                <a:gd name="T29" fmla="*/ 2147483647 h 193"/>
                <a:gd name="T30" fmla="*/ 1525007469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7" name="Freeform 215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7616833" y="3252388"/>
              <a:ext cx="65789" cy="66320"/>
            </a:xfrm>
            <a:custGeom>
              <a:avLst/>
              <a:gdLst>
                <a:gd name="T0" fmla="*/ 0 w 120"/>
                <a:gd name="T1" fmla="*/ 2147483647 h 56"/>
                <a:gd name="T2" fmla="*/ 659147666 w 120"/>
                <a:gd name="T3" fmla="*/ 2147483647 h 56"/>
                <a:gd name="T4" fmla="*/ 1647718948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1660598323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1318295333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8" name="Freeform 216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7435618" y="3097882"/>
              <a:ext cx="315381" cy="123524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9" name="Freeform 217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7820178" y="3212954"/>
              <a:ext cx="111640" cy="78868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1599801309 h 129"/>
                <a:gd name="T44" fmla="*/ 2147483647 w 207"/>
                <a:gd name="T45" fmla="*/ 0 h 129"/>
                <a:gd name="T46" fmla="*/ 0 w 207"/>
                <a:gd name="T47" fmla="*/ 0 h 129"/>
                <a:gd name="T48" fmla="*/ 156778695 w 207"/>
                <a:gd name="T49" fmla="*/ 1371044369 h 129"/>
                <a:gd name="T50" fmla="*/ 313848624 w 207"/>
                <a:gd name="T51" fmla="*/ 2147483647 h 129"/>
                <a:gd name="T52" fmla="*/ 627406553 w 207"/>
                <a:gd name="T53" fmla="*/ 2147483647 h 129"/>
                <a:gd name="T54" fmla="*/ 941255177 w 207"/>
                <a:gd name="T55" fmla="*/ 2147483647 h 129"/>
                <a:gd name="T56" fmla="*/ 1568662269 w 207"/>
                <a:gd name="T57" fmla="*/ 2147483647 h 129"/>
                <a:gd name="T58" fmla="*/ 2039289588 w 207"/>
                <a:gd name="T59" fmla="*/ 2147483647 h 129"/>
                <a:gd name="T60" fmla="*/ 2147483647 w 207"/>
                <a:gd name="T61" fmla="*/ 2147483647 h 129"/>
                <a:gd name="T62" fmla="*/ 2147483647 w 207"/>
                <a:gd name="T63" fmla="*/ 2147483647 h 129"/>
                <a:gd name="T64" fmla="*/ 2147483647 w 207"/>
                <a:gd name="T65" fmla="*/ 2147483647 h 129"/>
                <a:gd name="T66" fmla="*/ 2147483647 w 207"/>
                <a:gd name="T67" fmla="*/ 2147483647 h 129"/>
                <a:gd name="T68" fmla="*/ 1725731659 w 207"/>
                <a:gd name="T69" fmla="*/ 2147483647 h 129"/>
                <a:gd name="T70" fmla="*/ 1098034411 w 207"/>
                <a:gd name="T71" fmla="*/ 2147483647 h 129"/>
                <a:gd name="T72" fmla="*/ 0 w 207"/>
                <a:gd name="T73" fmla="*/ 2147483647 h 129"/>
                <a:gd name="T74" fmla="*/ 627406553 w 207"/>
                <a:gd name="T75" fmla="*/ 2147483647 h 129"/>
                <a:gd name="T76" fmla="*/ 2039289588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4FD1FF"/>
            </a:solidFill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0" name="Freeform 218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7277926" y="3281067"/>
              <a:ext cx="41866" cy="95000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939184805 h 154"/>
                <a:gd name="T4" fmla="*/ 2147483647 w 72"/>
                <a:gd name="T5" fmla="*/ 2112784578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589664003 w 72"/>
                <a:gd name="T45" fmla="*/ 2147483647 h 154"/>
                <a:gd name="T46" fmla="*/ 1572887594 w 72"/>
                <a:gd name="T47" fmla="*/ 2147483647 h 154"/>
                <a:gd name="T48" fmla="*/ 1769329263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1" name="Freeform 219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178247" y="3281067"/>
              <a:ext cx="117621" cy="164906"/>
            </a:xfrm>
            <a:custGeom>
              <a:avLst/>
              <a:gdLst>
                <a:gd name="T0" fmla="*/ 1328307694 w 214"/>
                <a:gd name="T1" fmla="*/ 2147483647 h 271"/>
                <a:gd name="T2" fmla="*/ 1992612414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676137723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2" name="Freeform 220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7238054" y="3406539"/>
              <a:ext cx="89711" cy="64528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1410964054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3" name="Freeform 221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7277926" y="3363520"/>
              <a:ext cx="179421" cy="98584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397109769 h 169"/>
                <a:gd name="T40" fmla="*/ 2147483647 w 332"/>
                <a:gd name="T41" fmla="*/ 198384842 h 169"/>
                <a:gd name="T42" fmla="*/ 2147483647 w 332"/>
                <a:gd name="T43" fmla="*/ 0 h 169"/>
                <a:gd name="T44" fmla="*/ 2147483647 w 332"/>
                <a:gd name="T45" fmla="*/ 198384842 h 169"/>
                <a:gd name="T46" fmla="*/ 2147483647 w 332"/>
                <a:gd name="T47" fmla="*/ 793878869 h 169"/>
                <a:gd name="T48" fmla="*/ 2147483647 w 332"/>
                <a:gd name="T49" fmla="*/ 1984866923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1736289983 w 332"/>
                <a:gd name="T67" fmla="*/ 2147483647 h 169"/>
                <a:gd name="T68" fmla="*/ 1104858846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4" name="Freeform 222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7299856" y="3397576"/>
              <a:ext cx="157492" cy="138020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1418063878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5" name="Freeform 223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363650" y="3524841"/>
              <a:ext cx="105659" cy="112924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1779836163 w 205"/>
                <a:gd name="T43" fmla="*/ 2147483647 h 191"/>
                <a:gd name="T44" fmla="*/ 547764604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410690348 w 205"/>
                <a:gd name="T51" fmla="*/ 2147483647 h 191"/>
                <a:gd name="T52" fmla="*/ 1095263256 w 205"/>
                <a:gd name="T53" fmla="*/ 2147483647 h 191"/>
                <a:gd name="T54" fmla="*/ 1916910419 w 205"/>
                <a:gd name="T55" fmla="*/ 2147483647 h 191"/>
                <a:gd name="T56" fmla="*/ 2147483647 w 205"/>
                <a:gd name="T57" fmla="*/ 826678766 h 191"/>
                <a:gd name="T58" fmla="*/ 2147483647 w 205"/>
                <a:gd name="T59" fmla="*/ 0 h 191"/>
                <a:gd name="T60" fmla="*/ 2147483647 w 205"/>
                <a:gd name="T61" fmla="*/ 1239844033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6" name="Freeform 224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465322" y="3585785"/>
              <a:ext cx="179421" cy="89623"/>
            </a:xfrm>
            <a:custGeom>
              <a:avLst/>
              <a:gdLst>
                <a:gd name="T0" fmla="*/ 486561939 w 329"/>
                <a:gd name="T1" fmla="*/ 2147483647 h 154"/>
                <a:gd name="T2" fmla="*/ 0 w 329"/>
                <a:gd name="T3" fmla="*/ 2147483647 h 154"/>
                <a:gd name="T4" fmla="*/ 324473880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788461252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1182692460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486561939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7" name="Freeform 225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8320565" y="5001824"/>
              <a:ext cx="167460" cy="175661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163819660 w 306"/>
                <a:gd name="T37" fmla="*/ 2147483647 h 293"/>
                <a:gd name="T38" fmla="*/ 0 w 306"/>
                <a:gd name="T39" fmla="*/ 2147483647 h 293"/>
                <a:gd name="T40" fmla="*/ 163819660 w 306"/>
                <a:gd name="T41" fmla="*/ 2147483647 h 293"/>
                <a:gd name="T42" fmla="*/ 655579085 w 306"/>
                <a:gd name="T43" fmla="*/ 2147483647 h 293"/>
                <a:gd name="T44" fmla="*/ 1802917593 w 306"/>
                <a:gd name="T45" fmla="*/ 2147483647 h 293"/>
                <a:gd name="T46" fmla="*/ 2147483647 w 306"/>
                <a:gd name="T47" fmla="*/ 1723830938 h 293"/>
                <a:gd name="T48" fmla="*/ 2147483647 w 306"/>
                <a:gd name="T49" fmla="*/ 430957585 h 293"/>
                <a:gd name="T50" fmla="*/ 2147483647 w 306"/>
                <a:gd name="T51" fmla="*/ 0 h 293"/>
                <a:gd name="T52" fmla="*/ 2147483647 w 306"/>
                <a:gd name="T53" fmla="*/ 1292873353 h 293"/>
                <a:gd name="T54" fmla="*/ 2147483647 w 306"/>
                <a:gd name="T55" fmla="*/ 1508531704 h 293"/>
                <a:gd name="T56" fmla="*/ 2147483647 w 306"/>
                <a:gd name="T57" fmla="*/ 861915169 h 293"/>
                <a:gd name="T58" fmla="*/ 2147483647 w 306"/>
                <a:gd name="T59" fmla="*/ 1077574119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8" name="Freeform 363"/>
            <p:cNvSpPr>
              <a:spLocks/>
            </p:cNvSpPr>
            <p:nvPr/>
          </p:nvSpPr>
          <p:spPr bwMode="auto">
            <a:xfrm>
              <a:off x="7496104" y="3863615"/>
              <a:ext cx="190505" cy="227642"/>
            </a:xfrm>
            <a:custGeom>
              <a:avLst/>
              <a:gdLst>
                <a:gd name="T0" fmla="*/ 2147483647 w 352"/>
                <a:gd name="T1" fmla="*/ 2147483647 h 387"/>
                <a:gd name="T2" fmla="*/ 2147483647 w 352"/>
                <a:gd name="T3" fmla="*/ 2147483647 h 387"/>
                <a:gd name="T4" fmla="*/ 2147483647 w 352"/>
                <a:gd name="T5" fmla="*/ 2147483647 h 387"/>
                <a:gd name="T6" fmla="*/ 2147483647 w 352"/>
                <a:gd name="T7" fmla="*/ 2147483647 h 387"/>
                <a:gd name="T8" fmla="*/ 2147483647 w 352"/>
                <a:gd name="T9" fmla="*/ 2147483647 h 387"/>
                <a:gd name="T10" fmla="*/ 2147483647 w 352"/>
                <a:gd name="T11" fmla="*/ 2147483647 h 387"/>
                <a:gd name="T12" fmla="*/ 2147483647 w 352"/>
                <a:gd name="T13" fmla="*/ 1221052865 h 387"/>
                <a:gd name="T14" fmla="*/ 2147483647 w 352"/>
                <a:gd name="T15" fmla="*/ 2147483647 h 387"/>
                <a:gd name="T16" fmla="*/ 2147483647 w 352"/>
                <a:gd name="T17" fmla="*/ 2147483647 h 387"/>
                <a:gd name="T18" fmla="*/ 2147483647 w 352"/>
                <a:gd name="T19" fmla="*/ 2147483647 h 387"/>
                <a:gd name="T20" fmla="*/ 2147483647 w 352"/>
                <a:gd name="T21" fmla="*/ 2147483647 h 387"/>
                <a:gd name="T22" fmla="*/ 2147483647 w 352"/>
                <a:gd name="T23" fmla="*/ 2147483647 h 387"/>
                <a:gd name="T24" fmla="*/ 2147483647 w 352"/>
                <a:gd name="T25" fmla="*/ 2147483647 h 387"/>
                <a:gd name="T26" fmla="*/ 2147483647 w 352"/>
                <a:gd name="T27" fmla="*/ 2147483647 h 387"/>
                <a:gd name="T28" fmla="*/ 1109526016 w 352"/>
                <a:gd name="T29" fmla="*/ 2147483647 h 387"/>
                <a:gd name="T30" fmla="*/ 0 w 352"/>
                <a:gd name="T31" fmla="*/ 2147483647 h 387"/>
                <a:gd name="T32" fmla="*/ 0 w 352"/>
                <a:gd name="T33" fmla="*/ 2147483647 h 387"/>
                <a:gd name="T34" fmla="*/ 475678537 w 352"/>
                <a:gd name="T35" fmla="*/ 2147483647 h 387"/>
                <a:gd name="T36" fmla="*/ 1426742277 w 352"/>
                <a:gd name="T37" fmla="*/ 2147483647 h 387"/>
                <a:gd name="T38" fmla="*/ 2147483647 w 352"/>
                <a:gd name="T39" fmla="*/ 2147483647 h 387"/>
                <a:gd name="T40" fmla="*/ 2147483647 w 352"/>
                <a:gd name="T41" fmla="*/ 2147483647 h 387"/>
                <a:gd name="T42" fmla="*/ 2147483647 w 352"/>
                <a:gd name="T43" fmla="*/ 2147483647 h 387"/>
                <a:gd name="T44" fmla="*/ 2147483647 w 352"/>
                <a:gd name="T45" fmla="*/ 2147483647 h 387"/>
                <a:gd name="T46" fmla="*/ 2147483647 w 352"/>
                <a:gd name="T47" fmla="*/ 2147483647 h 387"/>
                <a:gd name="T48" fmla="*/ 2147483647 w 352"/>
                <a:gd name="T49" fmla="*/ 2147483647 h 387"/>
                <a:gd name="T50" fmla="*/ 2147483647 w 352"/>
                <a:gd name="T51" fmla="*/ 2147483647 h 387"/>
                <a:gd name="T52" fmla="*/ 2147483647 w 352"/>
                <a:gd name="T53" fmla="*/ 2147483647 h 387"/>
                <a:gd name="T54" fmla="*/ 2147483647 w 352"/>
                <a:gd name="T55" fmla="*/ 2147483647 h 387"/>
                <a:gd name="T56" fmla="*/ 2147483647 w 352"/>
                <a:gd name="T57" fmla="*/ 2147483647 h 387"/>
                <a:gd name="T58" fmla="*/ 2147483647 w 352"/>
                <a:gd name="T59" fmla="*/ 2147483647 h 387"/>
                <a:gd name="T60" fmla="*/ 2147483647 w 352"/>
                <a:gd name="T61" fmla="*/ 2147483647 h 387"/>
                <a:gd name="T62" fmla="*/ 2147483647 w 352"/>
                <a:gd name="T63" fmla="*/ 2147483647 h 387"/>
                <a:gd name="T64" fmla="*/ 2147483647 w 352"/>
                <a:gd name="T65" fmla="*/ 2147483647 h 387"/>
                <a:gd name="T66" fmla="*/ 2147483647 w 352"/>
                <a:gd name="T67" fmla="*/ 2147483647 h 387"/>
                <a:gd name="T68" fmla="*/ 2147483647 w 352"/>
                <a:gd name="T69" fmla="*/ 2147483647 h 387"/>
                <a:gd name="T70" fmla="*/ 2147483647 w 352"/>
                <a:gd name="T71" fmla="*/ 2147483647 h 387"/>
                <a:gd name="T72" fmla="*/ 2147483647 w 352"/>
                <a:gd name="T73" fmla="*/ 2147483647 h 387"/>
                <a:gd name="T74" fmla="*/ 2147483647 w 352"/>
                <a:gd name="T75" fmla="*/ 2147483647 h 387"/>
                <a:gd name="T76" fmla="*/ 2147483647 w 352"/>
                <a:gd name="T77" fmla="*/ 2147483647 h 387"/>
                <a:gd name="T78" fmla="*/ 2147483647 w 352"/>
                <a:gd name="T79" fmla="*/ 2147483647 h 387"/>
                <a:gd name="T80" fmla="*/ 2147483647 w 352"/>
                <a:gd name="T81" fmla="*/ 2147483647 h 387"/>
                <a:gd name="T82" fmla="*/ 2147483647 w 352"/>
                <a:gd name="T83" fmla="*/ 2147483647 h 387"/>
                <a:gd name="T84" fmla="*/ 2147483647 w 352"/>
                <a:gd name="T85" fmla="*/ 2147483647 h 387"/>
                <a:gd name="T86" fmla="*/ 2147483647 w 352"/>
                <a:gd name="T87" fmla="*/ 2147483647 h 387"/>
                <a:gd name="T88" fmla="*/ 2147483647 w 352"/>
                <a:gd name="T89" fmla="*/ 2147483647 h 387"/>
                <a:gd name="T90" fmla="*/ 2147483647 w 352"/>
                <a:gd name="T91" fmla="*/ 2147483647 h 387"/>
                <a:gd name="T92" fmla="*/ 2147483647 w 352"/>
                <a:gd name="T93" fmla="*/ 2147483647 h 387"/>
                <a:gd name="T94" fmla="*/ 2147483647 w 352"/>
                <a:gd name="T95" fmla="*/ 2147483647 h 387"/>
                <a:gd name="T96" fmla="*/ 2147483647 w 352"/>
                <a:gd name="T97" fmla="*/ 2147483647 h 387"/>
                <a:gd name="T98" fmla="*/ 2147483647 w 352"/>
                <a:gd name="T99" fmla="*/ 2147483647 h 387"/>
                <a:gd name="T100" fmla="*/ 2147483647 w 352"/>
                <a:gd name="T101" fmla="*/ 2147483647 h 387"/>
                <a:gd name="T102" fmla="*/ 2147483647 w 352"/>
                <a:gd name="T103" fmla="*/ 2147483647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79" name="Group 391"/>
            <p:cNvGrpSpPr>
              <a:grpSpLocks/>
            </p:cNvGrpSpPr>
            <p:nvPr>
              <p:custDataLst>
                <p:tags r:id="rId99"/>
              </p:custDataLst>
            </p:nvPr>
          </p:nvGrpSpPr>
          <p:grpSpPr bwMode="auto">
            <a:xfrm>
              <a:off x="6508407" y="1124744"/>
              <a:ext cx="2382319" cy="1279813"/>
              <a:chOff x="527" y="1110"/>
              <a:chExt cx="1410" cy="709"/>
            </a:xfrm>
            <a:grpFill/>
          </p:grpSpPr>
          <p:sp>
            <p:nvSpPr>
              <p:cNvPr id="586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7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8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9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0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1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2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3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4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5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6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7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8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9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0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1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2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3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4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5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6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7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8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9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0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1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2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3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4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5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chemeClr val="tx1">
                  <a:lumMod val="95000"/>
                </a:schemeClr>
              </a:solidFill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80" name="Freeform 439"/>
            <p:cNvSpPr>
              <a:spLocks/>
            </p:cNvSpPr>
            <p:nvPr/>
          </p:nvSpPr>
          <p:spPr bwMode="auto">
            <a:xfrm>
              <a:off x="8208292" y="5427862"/>
              <a:ext cx="24954" cy="30147"/>
            </a:xfrm>
            <a:custGeom>
              <a:avLst/>
              <a:gdLst>
                <a:gd name="T0" fmla="*/ 2147483647 w 46"/>
                <a:gd name="T1" fmla="*/ 2147483647 h 51"/>
                <a:gd name="T2" fmla="*/ 2147483647 w 46"/>
                <a:gd name="T3" fmla="*/ 0 h 51"/>
                <a:gd name="T4" fmla="*/ 2075281508 w 46"/>
                <a:gd name="T5" fmla="*/ 1032885874 h 51"/>
                <a:gd name="T6" fmla="*/ 1117391297 w 46"/>
                <a:gd name="T7" fmla="*/ 1858914856 h 51"/>
                <a:gd name="T8" fmla="*/ 638593474 w 46"/>
                <a:gd name="T9" fmla="*/ 2147483647 h 51"/>
                <a:gd name="T10" fmla="*/ 319296737 w 46"/>
                <a:gd name="T11" fmla="*/ 2147483647 h 51"/>
                <a:gd name="T12" fmla="*/ 0 w 46"/>
                <a:gd name="T13" fmla="*/ 2147483647 h 51"/>
                <a:gd name="T14" fmla="*/ 0 w 46"/>
                <a:gd name="T15" fmla="*/ 2147483647 h 51"/>
                <a:gd name="T16" fmla="*/ 0 w 46"/>
                <a:gd name="T17" fmla="*/ 2147483647 h 51"/>
                <a:gd name="T18" fmla="*/ 319296737 w 46"/>
                <a:gd name="T19" fmla="*/ 2147483647 h 51"/>
                <a:gd name="T20" fmla="*/ 638593474 w 46"/>
                <a:gd name="T21" fmla="*/ 2147483647 h 51"/>
                <a:gd name="T22" fmla="*/ 1117391297 w 46"/>
                <a:gd name="T23" fmla="*/ 2147483647 h 51"/>
                <a:gd name="T24" fmla="*/ 1596483685 w 46"/>
                <a:gd name="T25" fmla="*/ 2147483647 h 51"/>
                <a:gd name="T26" fmla="*/ 2075281508 w 46"/>
                <a:gd name="T27" fmla="*/ 2147483647 h 51"/>
                <a:gd name="T28" fmla="*/ 2147483647 w 46"/>
                <a:gd name="T29" fmla="*/ 2147483647 h 51"/>
                <a:gd name="T30" fmla="*/ 2147483647 w 46"/>
                <a:gd name="T31" fmla="*/ 2147483647 h 51"/>
                <a:gd name="T32" fmla="*/ 2147483647 w 46"/>
                <a:gd name="T33" fmla="*/ 2147483647 h 51"/>
                <a:gd name="T34" fmla="*/ 2147483647 w 46"/>
                <a:gd name="T35" fmla="*/ 2147483647 h 51"/>
                <a:gd name="T36" fmla="*/ 2147483647 w 46"/>
                <a:gd name="T37" fmla="*/ 2147483647 h 51"/>
                <a:gd name="T38" fmla="*/ 2147483647 w 46"/>
                <a:gd name="T39" fmla="*/ 2147483647 h 51"/>
                <a:gd name="T40" fmla="*/ 2147483647 w 46"/>
                <a:gd name="T41" fmla="*/ 2147483647 h 51"/>
                <a:gd name="T42" fmla="*/ 2147483647 w 46"/>
                <a:gd name="T43" fmla="*/ 2147483647 h 51"/>
                <a:gd name="T44" fmla="*/ 2147483647 w 46"/>
                <a:gd name="T45" fmla="*/ 2147483647 h 51"/>
                <a:gd name="T46" fmla="*/ 2147483647 w 46"/>
                <a:gd name="T47" fmla="*/ 2147483647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1" name="Freeform 440"/>
            <p:cNvSpPr>
              <a:spLocks/>
            </p:cNvSpPr>
            <p:nvPr/>
          </p:nvSpPr>
          <p:spPr bwMode="auto">
            <a:xfrm>
              <a:off x="8226591" y="5780761"/>
              <a:ext cx="104807" cy="93988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2147483647 h 158"/>
                <a:gd name="T4" fmla="*/ 325387524 w 192"/>
                <a:gd name="T5" fmla="*/ 2147483647 h 158"/>
                <a:gd name="T6" fmla="*/ 650477003 w 192"/>
                <a:gd name="T7" fmla="*/ 2147483647 h 158"/>
                <a:gd name="T8" fmla="*/ 1138557744 w 192"/>
                <a:gd name="T9" fmla="*/ 2147483647 h 158"/>
                <a:gd name="T10" fmla="*/ 1789332792 w 192"/>
                <a:gd name="T11" fmla="*/ 2147483647 h 158"/>
                <a:gd name="T12" fmla="*/ 2147483647 w 192"/>
                <a:gd name="T13" fmla="*/ 2147483647 h 158"/>
                <a:gd name="T14" fmla="*/ 2147483647 w 192"/>
                <a:gd name="T15" fmla="*/ 2147483647 h 158"/>
                <a:gd name="T16" fmla="*/ 2147483647 w 192"/>
                <a:gd name="T17" fmla="*/ 2147483647 h 158"/>
                <a:gd name="T18" fmla="*/ 2147483647 w 192"/>
                <a:gd name="T19" fmla="*/ 2147483647 h 158"/>
                <a:gd name="T20" fmla="*/ 2147483647 w 192"/>
                <a:gd name="T21" fmla="*/ 2147483647 h 158"/>
                <a:gd name="T22" fmla="*/ 2147483647 w 192"/>
                <a:gd name="T23" fmla="*/ 2147483647 h 158"/>
                <a:gd name="T24" fmla="*/ 2147483647 w 192"/>
                <a:gd name="T25" fmla="*/ 2147483647 h 158"/>
                <a:gd name="T26" fmla="*/ 2147483647 w 192"/>
                <a:gd name="T27" fmla="*/ 2147483647 h 158"/>
                <a:gd name="T28" fmla="*/ 2147483647 w 192"/>
                <a:gd name="T29" fmla="*/ 2147483647 h 158"/>
                <a:gd name="T30" fmla="*/ 2147483647 w 192"/>
                <a:gd name="T31" fmla="*/ 2147483647 h 158"/>
                <a:gd name="T32" fmla="*/ 2147483647 w 192"/>
                <a:gd name="T33" fmla="*/ 2147483647 h 158"/>
                <a:gd name="T34" fmla="*/ 2147483647 w 192"/>
                <a:gd name="T35" fmla="*/ 2147483647 h 158"/>
                <a:gd name="T36" fmla="*/ 2147483647 w 192"/>
                <a:gd name="T37" fmla="*/ 2147483647 h 158"/>
                <a:gd name="T38" fmla="*/ 2147483647 w 192"/>
                <a:gd name="T39" fmla="*/ 2147483647 h 158"/>
                <a:gd name="T40" fmla="*/ 2147483647 w 192"/>
                <a:gd name="T41" fmla="*/ 2147483647 h 158"/>
                <a:gd name="T42" fmla="*/ 2147483647 w 192"/>
                <a:gd name="T43" fmla="*/ 2147483647 h 158"/>
                <a:gd name="T44" fmla="*/ 2147483647 w 192"/>
                <a:gd name="T45" fmla="*/ 2147483647 h 158"/>
                <a:gd name="T46" fmla="*/ 2147483647 w 192"/>
                <a:gd name="T47" fmla="*/ 2147483647 h 158"/>
                <a:gd name="T48" fmla="*/ 2147483647 w 192"/>
                <a:gd name="T49" fmla="*/ 2147483647 h 158"/>
                <a:gd name="T50" fmla="*/ 2147483647 w 192"/>
                <a:gd name="T51" fmla="*/ 2147483647 h 158"/>
                <a:gd name="T52" fmla="*/ 2147483647 w 192"/>
                <a:gd name="T53" fmla="*/ 2147483647 h 158"/>
                <a:gd name="T54" fmla="*/ 2147483647 w 192"/>
                <a:gd name="T55" fmla="*/ 2147483647 h 158"/>
                <a:gd name="T56" fmla="*/ 2147483647 w 192"/>
                <a:gd name="T57" fmla="*/ 2147483647 h 158"/>
                <a:gd name="T58" fmla="*/ 2147483647 w 192"/>
                <a:gd name="T59" fmla="*/ 2147483647 h 158"/>
                <a:gd name="T60" fmla="*/ 2147483647 w 192"/>
                <a:gd name="T61" fmla="*/ 2147483647 h 158"/>
                <a:gd name="T62" fmla="*/ 2147483647 w 192"/>
                <a:gd name="T63" fmla="*/ 2147483647 h 158"/>
                <a:gd name="T64" fmla="*/ 2147483647 w 192"/>
                <a:gd name="T65" fmla="*/ 2147483647 h 158"/>
                <a:gd name="T66" fmla="*/ 2147483647 w 192"/>
                <a:gd name="T67" fmla="*/ 2147483647 h 158"/>
                <a:gd name="T68" fmla="*/ 2147483647 w 192"/>
                <a:gd name="T69" fmla="*/ 2147483647 h 158"/>
                <a:gd name="T70" fmla="*/ 2147483647 w 192"/>
                <a:gd name="T71" fmla="*/ 2147483647 h 158"/>
                <a:gd name="T72" fmla="*/ 2114422271 w 192"/>
                <a:gd name="T73" fmla="*/ 1262923894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2" name="Freeform 441"/>
            <p:cNvSpPr>
              <a:spLocks/>
            </p:cNvSpPr>
            <p:nvPr/>
          </p:nvSpPr>
          <p:spPr bwMode="auto">
            <a:xfrm>
              <a:off x="7943779" y="4709653"/>
              <a:ext cx="482444" cy="1074654"/>
            </a:xfrm>
            <a:custGeom>
              <a:avLst/>
              <a:gdLst>
                <a:gd name="T0" fmla="*/ 2147483647 w 884"/>
                <a:gd name="T1" fmla="*/ 2147483647 h 1818"/>
                <a:gd name="T2" fmla="*/ 2147483647 w 884"/>
                <a:gd name="T3" fmla="*/ 2147483647 h 1818"/>
                <a:gd name="T4" fmla="*/ 2147483647 w 884"/>
                <a:gd name="T5" fmla="*/ 2147483647 h 1818"/>
                <a:gd name="T6" fmla="*/ 2147483647 w 884"/>
                <a:gd name="T7" fmla="*/ 2147483647 h 1818"/>
                <a:gd name="T8" fmla="*/ 2147483647 w 884"/>
                <a:gd name="T9" fmla="*/ 2147483647 h 1818"/>
                <a:gd name="T10" fmla="*/ 2147483647 w 884"/>
                <a:gd name="T11" fmla="*/ 2147483647 h 1818"/>
                <a:gd name="T12" fmla="*/ 2147483647 w 884"/>
                <a:gd name="T13" fmla="*/ 2147483647 h 1818"/>
                <a:gd name="T14" fmla="*/ 2147483647 w 884"/>
                <a:gd name="T15" fmla="*/ 2147483647 h 1818"/>
                <a:gd name="T16" fmla="*/ 2147483647 w 884"/>
                <a:gd name="T17" fmla="*/ 2147483647 h 1818"/>
                <a:gd name="T18" fmla="*/ 2147483647 w 884"/>
                <a:gd name="T19" fmla="*/ 2147483647 h 1818"/>
                <a:gd name="T20" fmla="*/ 2147483647 w 884"/>
                <a:gd name="T21" fmla="*/ 2147483647 h 1818"/>
                <a:gd name="T22" fmla="*/ 2147483647 w 884"/>
                <a:gd name="T23" fmla="*/ 2065430014 h 1818"/>
                <a:gd name="T24" fmla="*/ 2147483647 w 884"/>
                <a:gd name="T25" fmla="*/ 2147483647 h 1818"/>
                <a:gd name="T26" fmla="*/ 2147483647 w 884"/>
                <a:gd name="T27" fmla="*/ 2147483647 h 1818"/>
                <a:gd name="T28" fmla="*/ 2147483647 w 884"/>
                <a:gd name="T29" fmla="*/ 1652414118 h 1818"/>
                <a:gd name="T30" fmla="*/ 2147483647 w 884"/>
                <a:gd name="T31" fmla="*/ 2147483647 h 1818"/>
                <a:gd name="T32" fmla="*/ 2147483647 w 884"/>
                <a:gd name="T33" fmla="*/ 2147483647 h 1818"/>
                <a:gd name="T34" fmla="*/ 2147483647 w 884"/>
                <a:gd name="T35" fmla="*/ 2147483647 h 1818"/>
                <a:gd name="T36" fmla="*/ 2147483647 w 884"/>
                <a:gd name="T37" fmla="*/ 2147483647 h 1818"/>
                <a:gd name="T38" fmla="*/ 2147483647 w 884"/>
                <a:gd name="T39" fmla="*/ 2147483647 h 1818"/>
                <a:gd name="T40" fmla="*/ 0 w 884"/>
                <a:gd name="T41" fmla="*/ 2147483647 h 1818"/>
                <a:gd name="T42" fmla="*/ 1950582216 w 884"/>
                <a:gd name="T43" fmla="*/ 2147483647 h 1818"/>
                <a:gd name="T44" fmla="*/ 2147483647 w 884"/>
                <a:gd name="T45" fmla="*/ 2147483647 h 1818"/>
                <a:gd name="T46" fmla="*/ 2147483647 w 884"/>
                <a:gd name="T47" fmla="*/ 2147483647 h 1818"/>
                <a:gd name="T48" fmla="*/ 2147483647 w 884"/>
                <a:gd name="T49" fmla="*/ 2147483647 h 1818"/>
                <a:gd name="T50" fmla="*/ 2147483647 w 884"/>
                <a:gd name="T51" fmla="*/ 2147483647 h 1818"/>
                <a:gd name="T52" fmla="*/ 2147483647 w 884"/>
                <a:gd name="T53" fmla="*/ 2147483647 h 1818"/>
                <a:gd name="T54" fmla="*/ 2147483647 w 884"/>
                <a:gd name="T55" fmla="*/ 2147483647 h 1818"/>
                <a:gd name="T56" fmla="*/ 2147483647 w 884"/>
                <a:gd name="T57" fmla="*/ 2147483647 h 1818"/>
                <a:gd name="T58" fmla="*/ 2147483647 w 884"/>
                <a:gd name="T59" fmla="*/ 2147483647 h 1818"/>
                <a:gd name="T60" fmla="*/ 2147483647 w 884"/>
                <a:gd name="T61" fmla="*/ 2147483647 h 1818"/>
                <a:gd name="T62" fmla="*/ 2147483647 w 884"/>
                <a:gd name="T63" fmla="*/ 2147483647 h 1818"/>
                <a:gd name="T64" fmla="*/ 2147483647 w 884"/>
                <a:gd name="T65" fmla="*/ 2147483647 h 1818"/>
                <a:gd name="T66" fmla="*/ 2147483647 w 884"/>
                <a:gd name="T67" fmla="*/ 2147483647 h 1818"/>
                <a:gd name="T68" fmla="*/ 2147483647 w 884"/>
                <a:gd name="T69" fmla="*/ 2147483647 h 1818"/>
                <a:gd name="T70" fmla="*/ 2147483647 w 884"/>
                <a:gd name="T71" fmla="*/ 2147483647 h 1818"/>
                <a:gd name="T72" fmla="*/ 2147483647 w 884"/>
                <a:gd name="T73" fmla="*/ 2147483647 h 1818"/>
                <a:gd name="T74" fmla="*/ 2147483647 w 884"/>
                <a:gd name="T75" fmla="*/ 2147483647 h 1818"/>
                <a:gd name="T76" fmla="*/ 2147483647 w 884"/>
                <a:gd name="T77" fmla="*/ 2147483647 h 1818"/>
                <a:gd name="T78" fmla="*/ 2147483647 w 884"/>
                <a:gd name="T79" fmla="*/ 2147483647 h 1818"/>
                <a:gd name="T80" fmla="*/ 2147483647 w 884"/>
                <a:gd name="T81" fmla="*/ 2147483647 h 1818"/>
                <a:gd name="T82" fmla="*/ 2147483647 w 884"/>
                <a:gd name="T83" fmla="*/ 2147483647 h 1818"/>
                <a:gd name="T84" fmla="*/ 2147483647 w 884"/>
                <a:gd name="T85" fmla="*/ 2147483647 h 1818"/>
                <a:gd name="T86" fmla="*/ 2147483647 w 884"/>
                <a:gd name="T87" fmla="*/ 2147483647 h 1818"/>
                <a:gd name="T88" fmla="*/ 2147483647 w 884"/>
                <a:gd name="T89" fmla="*/ 2147483647 h 1818"/>
                <a:gd name="T90" fmla="*/ 2147483647 w 884"/>
                <a:gd name="T91" fmla="*/ 2147483647 h 1818"/>
                <a:gd name="T92" fmla="*/ 2147483647 w 884"/>
                <a:gd name="T93" fmla="*/ 2147483647 h 1818"/>
                <a:gd name="T94" fmla="*/ 2147483647 w 884"/>
                <a:gd name="T95" fmla="*/ 2147483647 h 1818"/>
                <a:gd name="T96" fmla="*/ 2147483647 w 884"/>
                <a:gd name="T97" fmla="*/ 2147483647 h 1818"/>
                <a:gd name="T98" fmla="*/ 2147483647 w 884"/>
                <a:gd name="T99" fmla="*/ 2147483647 h 1818"/>
                <a:gd name="T100" fmla="*/ 2147483647 w 884"/>
                <a:gd name="T101" fmla="*/ 2147483647 h 1818"/>
                <a:gd name="T102" fmla="*/ 2147483647 w 884"/>
                <a:gd name="T103" fmla="*/ 2147483647 h 1818"/>
                <a:gd name="T104" fmla="*/ 2147483647 w 884"/>
                <a:gd name="T105" fmla="*/ 2147483647 h 1818"/>
                <a:gd name="T106" fmla="*/ 2147483647 w 884"/>
                <a:gd name="T107" fmla="*/ 2147483647 h 1818"/>
                <a:gd name="T108" fmla="*/ 2147483647 w 884"/>
                <a:gd name="T109" fmla="*/ 2147483647 h 1818"/>
                <a:gd name="T110" fmla="*/ 2147483647 w 884"/>
                <a:gd name="T111" fmla="*/ 2147483647 h 1818"/>
                <a:gd name="T112" fmla="*/ 2147483647 w 884"/>
                <a:gd name="T113" fmla="*/ 2147483647 h 1818"/>
                <a:gd name="T114" fmla="*/ 2147483647 w 884"/>
                <a:gd name="T115" fmla="*/ 2147483647 h 1818"/>
                <a:gd name="T116" fmla="*/ 2147483647 w 884"/>
                <a:gd name="T117" fmla="*/ 2147483647 h 1818"/>
                <a:gd name="T118" fmla="*/ 2147483647 w 884"/>
                <a:gd name="T119" fmla="*/ 214748364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3" name="Freeform 445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8444166" y="3912011"/>
              <a:ext cx="103666" cy="64528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1911003545 h 104"/>
                <a:gd name="T20" fmla="*/ 2147483647 w 186"/>
                <a:gd name="T21" fmla="*/ 1433252504 h 104"/>
                <a:gd name="T22" fmla="*/ 2147483647 w 186"/>
                <a:gd name="T23" fmla="*/ 716433909 h 104"/>
                <a:gd name="T24" fmla="*/ 2147483647 w 186"/>
                <a:gd name="T25" fmla="*/ 23868286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38682867 h 104"/>
                <a:gd name="T32" fmla="*/ 2147483647 w 186"/>
                <a:gd name="T33" fmla="*/ 477751041 h 104"/>
                <a:gd name="T34" fmla="*/ 2147483647 w 186"/>
                <a:gd name="T35" fmla="*/ 955502083 h 104"/>
                <a:gd name="T36" fmla="*/ 2147483647 w 186"/>
                <a:gd name="T37" fmla="*/ 1433252504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1211776954 w 186"/>
                <a:gd name="T47" fmla="*/ 2147483647 h 104"/>
                <a:gd name="T48" fmla="*/ 0 w 186"/>
                <a:gd name="T49" fmla="*/ 2147483647 h 104"/>
                <a:gd name="T50" fmla="*/ 1385109851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4" name="Freeform 450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568987" y="3478237"/>
              <a:ext cx="374792" cy="591510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180954618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5" name="Freeform 541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8246802" y="3704087"/>
              <a:ext cx="125596" cy="138018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1382321317 h 237"/>
                <a:gd name="T48" fmla="*/ 2147483647 w 226"/>
                <a:gd name="T49" fmla="*/ 395094287 h 237"/>
                <a:gd name="T50" fmla="*/ 2147483647 w 226"/>
                <a:gd name="T51" fmla="*/ 1184943348 h 237"/>
                <a:gd name="T52" fmla="*/ 2147483647 w 226"/>
                <a:gd name="T53" fmla="*/ 2147483647 h 237"/>
                <a:gd name="T54" fmla="*/ 1716228771 w 226"/>
                <a:gd name="T55" fmla="*/ 2147483647 h 237"/>
                <a:gd name="T56" fmla="*/ 514837455 w 226"/>
                <a:gd name="T57" fmla="*/ 2147483647 h 237"/>
                <a:gd name="T58" fmla="*/ 0 w 226"/>
                <a:gd name="T59" fmla="*/ 2147483647 h 237"/>
                <a:gd name="T60" fmla="*/ 514837455 w 226"/>
                <a:gd name="T61" fmla="*/ 2147483647 h 237"/>
                <a:gd name="T62" fmla="*/ 1716228771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28" name="Group 627"/>
          <p:cNvGrpSpPr>
            <a:grpSpLocks/>
          </p:cNvGrpSpPr>
          <p:nvPr/>
        </p:nvGrpSpPr>
        <p:grpSpPr bwMode="auto">
          <a:xfrm>
            <a:off x="0" y="2133600"/>
            <a:ext cx="2240810" cy="3482781"/>
            <a:chOff x="5868471" y="1124744"/>
            <a:chExt cx="3096017" cy="4810948"/>
          </a:xfrm>
          <a:solidFill>
            <a:sysClr val="window" lastClr="FFFFFF">
              <a:lumMod val="95000"/>
            </a:sysClr>
          </a:solidFill>
        </p:grpSpPr>
        <p:sp>
          <p:nvSpPr>
            <p:cNvPr id="629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8181015" y="5863994"/>
              <a:ext cx="41864" cy="64528"/>
            </a:xfrm>
            <a:custGeom>
              <a:avLst/>
              <a:gdLst>
                <a:gd name="T0" fmla="*/ 0 w 73"/>
                <a:gd name="T1" fmla="*/ 0 h 20"/>
                <a:gd name="T2" fmla="*/ 188447642 w 73"/>
                <a:gd name="T3" fmla="*/ 2147483647 h 20"/>
                <a:gd name="T4" fmla="*/ 754447775 w 73"/>
                <a:gd name="T5" fmla="*/ 2147483647 h 20"/>
                <a:gd name="T6" fmla="*/ 1508895550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0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5868471" y="1461725"/>
              <a:ext cx="984825" cy="503680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646514735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1872592170 h 850"/>
                <a:gd name="T92" fmla="*/ 2147483647 w 1808"/>
                <a:gd name="T93" fmla="*/ 416092418 h 850"/>
                <a:gd name="T94" fmla="*/ 2147483647 w 1808"/>
                <a:gd name="T95" fmla="*/ 2080813482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1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6446607" y="2157198"/>
              <a:ext cx="1734408" cy="869341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4FD1FF"/>
            </a:solidFill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2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7493232" y="3908426"/>
              <a:ext cx="426624" cy="666793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094708059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1032923834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3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7870017" y="4544747"/>
              <a:ext cx="328939" cy="1276228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4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7750403" y="3734558"/>
              <a:ext cx="1214085" cy="1358681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5" name="Freeform 25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202943" y="5871164"/>
              <a:ext cx="29904" cy="64528"/>
            </a:xfrm>
            <a:custGeom>
              <a:avLst/>
              <a:gdLst>
                <a:gd name="T0" fmla="*/ 0 w 53"/>
                <a:gd name="T1" fmla="*/ 2147483647 h 19"/>
                <a:gd name="T2" fmla="*/ 1257488026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1257488026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6" name="Freeform 29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7909889" y="2447575"/>
              <a:ext cx="61800" cy="64528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1680051761 w 112"/>
                <a:gd name="T41" fmla="*/ 2147483647 h 36"/>
                <a:gd name="T42" fmla="*/ 1008092084 w 112"/>
                <a:gd name="T43" fmla="*/ 2147483647 h 36"/>
                <a:gd name="T44" fmla="*/ 168066204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7" name="Freeform 41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7973683" y="3263143"/>
              <a:ext cx="39871" cy="66320"/>
            </a:xfrm>
            <a:custGeom>
              <a:avLst/>
              <a:gdLst>
                <a:gd name="T0" fmla="*/ 0 w 80"/>
                <a:gd name="T1" fmla="*/ 2147483647 h 34"/>
                <a:gd name="T2" fmla="*/ 123698282 w 80"/>
                <a:gd name="T3" fmla="*/ 2147483647 h 34"/>
                <a:gd name="T4" fmla="*/ 247644762 w 80"/>
                <a:gd name="T5" fmla="*/ 2147483647 h 34"/>
                <a:gd name="T6" fmla="*/ 495290022 w 80"/>
                <a:gd name="T7" fmla="*/ 2147483647 h 34"/>
                <a:gd name="T8" fmla="*/ 866633066 w 80"/>
                <a:gd name="T9" fmla="*/ 2147483647 h 34"/>
                <a:gd name="T10" fmla="*/ 1609319652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1609319652 w 80"/>
                <a:gd name="T51" fmla="*/ 2147483647 h 34"/>
                <a:gd name="T52" fmla="*/ 866633066 w 80"/>
                <a:gd name="T53" fmla="*/ 2147483647 h 34"/>
                <a:gd name="T54" fmla="*/ 495290022 w 80"/>
                <a:gd name="T55" fmla="*/ 2147483647 h 34"/>
                <a:gd name="T56" fmla="*/ 247644762 w 80"/>
                <a:gd name="T57" fmla="*/ 2147483647 h 34"/>
                <a:gd name="T58" fmla="*/ 123698282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4FD1FF"/>
            </a:solidFill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8" name="Freeform 55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8111897" y="3539969"/>
              <a:ext cx="29263" cy="65013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9" name="Freeform 56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8137908" y="3513964"/>
              <a:ext cx="16258" cy="65013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0" name="Freeform 57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7487639" y="3143391"/>
              <a:ext cx="19508" cy="65013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1" name="Freeform 16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7862043" y="4268709"/>
              <a:ext cx="412669" cy="469623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618341085 h 795"/>
                <a:gd name="T112" fmla="*/ 2147483647 w 758"/>
                <a:gd name="T113" fmla="*/ 618341085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2" name="Freeform 163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8131175" y="3625219"/>
              <a:ext cx="149519" cy="243774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1020732377 h 414"/>
                <a:gd name="T28" fmla="*/ 2147483647 w 273"/>
                <a:gd name="T29" fmla="*/ 1429163938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657218706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3" name="Freeform 165"/>
            <p:cNvSpPr>
              <a:spLocks/>
            </p:cNvSpPr>
            <p:nvPr/>
          </p:nvSpPr>
          <p:spPr bwMode="auto">
            <a:xfrm>
              <a:off x="8027362" y="3517215"/>
              <a:ext cx="29263" cy="13003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4" name="Freeform 166"/>
            <p:cNvSpPr>
              <a:spLocks/>
            </p:cNvSpPr>
            <p:nvPr/>
          </p:nvSpPr>
          <p:spPr bwMode="auto">
            <a:xfrm>
              <a:off x="7838784" y="3439200"/>
              <a:ext cx="3252" cy="13003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5" name="Freeform 167"/>
            <p:cNvSpPr>
              <a:spLocks/>
            </p:cNvSpPr>
            <p:nvPr/>
          </p:nvSpPr>
          <p:spPr bwMode="auto">
            <a:xfrm>
              <a:off x="7890806" y="3484709"/>
              <a:ext cx="13005" cy="6501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6" name="Freeform 168"/>
            <p:cNvSpPr>
              <a:spLocks/>
            </p:cNvSpPr>
            <p:nvPr/>
          </p:nvSpPr>
          <p:spPr bwMode="auto">
            <a:xfrm>
              <a:off x="7772332" y="3495490"/>
              <a:ext cx="406689" cy="396804"/>
            </a:xfrm>
            <a:custGeom>
              <a:avLst/>
              <a:gdLst>
                <a:gd name="T0" fmla="*/ 1475848108 w 743"/>
                <a:gd name="T1" fmla="*/ 2147483647 h 672"/>
                <a:gd name="T2" fmla="*/ 2147483647 w 743"/>
                <a:gd name="T3" fmla="*/ 2147483647 h 672"/>
                <a:gd name="T4" fmla="*/ 2147483647 w 743"/>
                <a:gd name="T5" fmla="*/ 2147483647 h 672"/>
                <a:gd name="T6" fmla="*/ 2147483647 w 743"/>
                <a:gd name="T7" fmla="*/ 2147483647 h 672"/>
                <a:gd name="T8" fmla="*/ 2147483647 w 743"/>
                <a:gd name="T9" fmla="*/ 2147483647 h 672"/>
                <a:gd name="T10" fmla="*/ 2147483647 w 743"/>
                <a:gd name="T11" fmla="*/ 2147483647 h 672"/>
                <a:gd name="T12" fmla="*/ 2147483647 w 743"/>
                <a:gd name="T13" fmla="*/ 2147483647 h 672"/>
                <a:gd name="T14" fmla="*/ 2147483647 w 743"/>
                <a:gd name="T15" fmla="*/ 2147483647 h 672"/>
                <a:gd name="T16" fmla="*/ 2147483647 w 743"/>
                <a:gd name="T17" fmla="*/ 2147483647 h 672"/>
                <a:gd name="T18" fmla="*/ 2147483647 w 743"/>
                <a:gd name="T19" fmla="*/ 2147483647 h 672"/>
                <a:gd name="T20" fmla="*/ 2147483647 w 743"/>
                <a:gd name="T21" fmla="*/ 2147483647 h 672"/>
                <a:gd name="T22" fmla="*/ 2147483647 w 743"/>
                <a:gd name="T23" fmla="*/ 2147483647 h 672"/>
                <a:gd name="T24" fmla="*/ 2147483647 w 743"/>
                <a:gd name="T25" fmla="*/ 2147483647 h 672"/>
                <a:gd name="T26" fmla="*/ 2147483647 w 743"/>
                <a:gd name="T27" fmla="*/ 2147483647 h 672"/>
                <a:gd name="T28" fmla="*/ 2147483647 w 743"/>
                <a:gd name="T29" fmla="*/ 2147483647 h 672"/>
                <a:gd name="T30" fmla="*/ 2147483647 w 743"/>
                <a:gd name="T31" fmla="*/ 2147483647 h 672"/>
                <a:gd name="T32" fmla="*/ 2147483647 w 743"/>
                <a:gd name="T33" fmla="*/ 2147483647 h 672"/>
                <a:gd name="T34" fmla="*/ 2147483647 w 743"/>
                <a:gd name="T35" fmla="*/ 2147483647 h 672"/>
                <a:gd name="T36" fmla="*/ 2147483647 w 743"/>
                <a:gd name="T37" fmla="*/ 2147483647 h 672"/>
                <a:gd name="T38" fmla="*/ 2147483647 w 743"/>
                <a:gd name="T39" fmla="*/ 2147483647 h 672"/>
                <a:gd name="T40" fmla="*/ 2147483647 w 743"/>
                <a:gd name="T41" fmla="*/ 2147483647 h 672"/>
                <a:gd name="T42" fmla="*/ 2147483647 w 743"/>
                <a:gd name="T43" fmla="*/ 2147483647 h 672"/>
                <a:gd name="T44" fmla="*/ 2147483647 w 743"/>
                <a:gd name="T45" fmla="*/ 2147483647 h 672"/>
                <a:gd name="T46" fmla="*/ 2147483647 w 743"/>
                <a:gd name="T47" fmla="*/ 2147483647 h 672"/>
                <a:gd name="T48" fmla="*/ 2147483647 w 743"/>
                <a:gd name="T49" fmla="*/ 2147483647 h 672"/>
                <a:gd name="T50" fmla="*/ 2147483647 w 743"/>
                <a:gd name="T51" fmla="*/ 2147483647 h 672"/>
                <a:gd name="T52" fmla="*/ 2147483647 w 743"/>
                <a:gd name="T53" fmla="*/ 2147483647 h 672"/>
                <a:gd name="T54" fmla="*/ 2147483647 w 743"/>
                <a:gd name="T55" fmla="*/ 2147483647 h 672"/>
                <a:gd name="T56" fmla="*/ 2147483647 w 743"/>
                <a:gd name="T57" fmla="*/ 2147483647 h 672"/>
                <a:gd name="T58" fmla="*/ 2147483647 w 743"/>
                <a:gd name="T59" fmla="*/ 2147483647 h 672"/>
                <a:gd name="T60" fmla="*/ 2147483647 w 743"/>
                <a:gd name="T61" fmla="*/ 2147483647 h 672"/>
                <a:gd name="T62" fmla="*/ 2147483647 w 743"/>
                <a:gd name="T63" fmla="*/ 2147483647 h 672"/>
                <a:gd name="T64" fmla="*/ 2147483647 w 743"/>
                <a:gd name="T65" fmla="*/ 2147483647 h 672"/>
                <a:gd name="T66" fmla="*/ 2147483647 w 743"/>
                <a:gd name="T67" fmla="*/ 2147483647 h 672"/>
                <a:gd name="T68" fmla="*/ 2147483647 w 743"/>
                <a:gd name="T69" fmla="*/ 2147483647 h 672"/>
                <a:gd name="T70" fmla="*/ 2147483647 w 743"/>
                <a:gd name="T71" fmla="*/ 2147483647 h 672"/>
                <a:gd name="T72" fmla="*/ 2147483647 w 743"/>
                <a:gd name="T73" fmla="*/ 2147483647 h 672"/>
                <a:gd name="T74" fmla="*/ 2147483647 w 743"/>
                <a:gd name="T75" fmla="*/ 2147483647 h 672"/>
                <a:gd name="T76" fmla="*/ 2147483647 w 743"/>
                <a:gd name="T77" fmla="*/ 2147483647 h 672"/>
                <a:gd name="T78" fmla="*/ 2147483647 w 743"/>
                <a:gd name="T79" fmla="*/ 2147483647 h 672"/>
                <a:gd name="T80" fmla="*/ 2147483647 w 743"/>
                <a:gd name="T81" fmla="*/ 2147483647 h 672"/>
                <a:gd name="T82" fmla="*/ 2147483647 w 743"/>
                <a:gd name="T83" fmla="*/ 2147483647 h 672"/>
                <a:gd name="T84" fmla="*/ 2147483647 w 743"/>
                <a:gd name="T85" fmla="*/ 2147483647 h 672"/>
                <a:gd name="T86" fmla="*/ 2147483647 w 743"/>
                <a:gd name="T87" fmla="*/ 2147483647 h 672"/>
                <a:gd name="T88" fmla="*/ 2147483647 w 743"/>
                <a:gd name="T89" fmla="*/ 2147483647 h 672"/>
                <a:gd name="T90" fmla="*/ 2147483647 w 743"/>
                <a:gd name="T91" fmla="*/ 2147483647 h 672"/>
                <a:gd name="T92" fmla="*/ 2147483647 w 743"/>
                <a:gd name="T93" fmla="*/ 2058891364 h 672"/>
                <a:gd name="T94" fmla="*/ 2147483647 w 743"/>
                <a:gd name="T95" fmla="*/ 2147483647 h 672"/>
                <a:gd name="T96" fmla="*/ 2147483647 w 743"/>
                <a:gd name="T97" fmla="*/ 2147483647 h 672"/>
                <a:gd name="T98" fmla="*/ 2147483647 w 743"/>
                <a:gd name="T99" fmla="*/ 2147483647 h 672"/>
                <a:gd name="T100" fmla="*/ 2147483647 w 743"/>
                <a:gd name="T101" fmla="*/ 2147483647 h 672"/>
                <a:gd name="T102" fmla="*/ 2147483647 w 743"/>
                <a:gd name="T103" fmla="*/ 2147483647 h 672"/>
                <a:gd name="T104" fmla="*/ 2147483647 w 743"/>
                <a:gd name="T105" fmla="*/ 2147483647 h 672"/>
                <a:gd name="T106" fmla="*/ 2147483647 w 743"/>
                <a:gd name="T107" fmla="*/ 2147483647 h 672"/>
                <a:gd name="T108" fmla="*/ 2147483647 w 743"/>
                <a:gd name="T109" fmla="*/ 2147483647 h 672"/>
                <a:gd name="T110" fmla="*/ 2147483647 w 743"/>
                <a:gd name="T111" fmla="*/ 2147483647 h 672"/>
                <a:gd name="T112" fmla="*/ 2147483647 w 743"/>
                <a:gd name="T113" fmla="*/ 2147483647 h 672"/>
                <a:gd name="T114" fmla="*/ 2147483647 w 743"/>
                <a:gd name="T115" fmla="*/ 2147483647 h 672"/>
                <a:gd name="T116" fmla="*/ 2147483647 w 743"/>
                <a:gd name="T117" fmla="*/ 2147483647 h 672"/>
                <a:gd name="T118" fmla="*/ 163883078 w 743"/>
                <a:gd name="T119" fmla="*/ 2147483647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7" name="Freeform 193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6538311" y="2757671"/>
              <a:ext cx="839293" cy="656038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980882002 w 1535"/>
                <a:gd name="T71" fmla="*/ 2147483647 h 1109"/>
                <a:gd name="T72" fmla="*/ 2147483647 w 1535"/>
                <a:gd name="T73" fmla="*/ 1035125624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8" name="Freeform 194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8139149" y="4609276"/>
              <a:ext cx="265146" cy="299340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1666127626 h 505"/>
                <a:gd name="T80" fmla="*/ 2147483647 w 486"/>
                <a:gd name="T81" fmla="*/ 416707361 h 505"/>
                <a:gd name="T82" fmla="*/ 2147483647 w 486"/>
                <a:gd name="T83" fmla="*/ 208353681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9" name="Freeform 195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8352462" y="3711256"/>
              <a:ext cx="91704" cy="123679"/>
            </a:xfrm>
            <a:custGeom>
              <a:avLst/>
              <a:gdLst>
                <a:gd name="T0" fmla="*/ 1180142643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02277804 h 208"/>
                <a:gd name="T46" fmla="*/ 2147483647 w 166"/>
                <a:gd name="T47" fmla="*/ 1681893477 h 208"/>
                <a:gd name="T48" fmla="*/ 2147483647 w 166"/>
                <a:gd name="T49" fmla="*/ 1051138902 h 208"/>
                <a:gd name="T50" fmla="*/ 2147483647 w 166"/>
                <a:gd name="T51" fmla="*/ 630753981 h 208"/>
                <a:gd name="T52" fmla="*/ 2147483647 w 166"/>
                <a:gd name="T53" fmla="*/ 210369060 h 208"/>
                <a:gd name="T54" fmla="*/ 2147483647 w 166"/>
                <a:gd name="T55" fmla="*/ 0 h 208"/>
                <a:gd name="T56" fmla="*/ 2147483647 w 166"/>
                <a:gd name="T57" fmla="*/ 210369060 h 208"/>
                <a:gd name="T58" fmla="*/ 2147483647 w 166"/>
                <a:gd name="T59" fmla="*/ 1051138902 h 208"/>
                <a:gd name="T60" fmla="*/ 2147483647 w 166"/>
                <a:gd name="T61" fmla="*/ 2147483647 h 208"/>
                <a:gd name="T62" fmla="*/ 1854597389 w 166"/>
                <a:gd name="T63" fmla="*/ 2147483647 h 208"/>
                <a:gd name="T64" fmla="*/ 1180142643 w 166"/>
                <a:gd name="T65" fmla="*/ 2147483647 h 208"/>
                <a:gd name="T66" fmla="*/ 674454746 w 166"/>
                <a:gd name="T67" fmla="*/ 2147483647 h 208"/>
                <a:gd name="T68" fmla="*/ 33722709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337227097 w 166"/>
                <a:gd name="T75" fmla="*/ 2147483647 h 208"/>
                <a:gd name="T76" fmla="*/ 505688450 w 166"/>
                <a:gd name="T77" fmla="*/ 2147483647 h 208"/>
                <a:gd name="T78" fmla="*/ 842915546 w 166"/>
                <a:gd name="T79" fmla="*/ 2147483647 h 208"/>
                <a:gd name="T80" fmla="*/ 1685831093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1854597389 w 166"/>
                <a:gd name="T109" fmla="*/ 2147483647 h 208"/>
                <a:gd name="T110" fmla="*/ 1180142643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0" name="Freeform 196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7742429" y="3212954"/>
              <a:ext cx="87717" cy="66320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1682979011 w 164"/>
                <a:gd name="T27" fmla="*/ 2147483647 h 104"/>
                <a:gd name="T28" fmla="*/ 918014565 w 164"/>
                <a:gd name="T29" fmla="*/ 2147483647 h 104"/>
                <a:gd name="T30" fmla="*/ 459150358 w 164"/>
                <a:gd name="T31" fmla="*/ 2147483647 h 104"/>
                <a:gd name="T32" fmla="*/ 153050119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153050119 w 164"/>
                <a:gd name="T41" fmla="*/ 2147483647 h 104"/>
                <a:gd name="T42" fmla="*/ 459150358 w 164"/>
                <a:gd name="T43" fmla="*/ 2147483647 h 104"/>
                <a:gd name="T44" fmla="*/ 918014565 w 164"/>
                <a:gd name="T45" fmla="*/ 2147483647 h 104"/>
                <a:gd name="T46" fmla="*/ 1836029131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155584870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155584870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1" name="Freeform 197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8202943" y="5871164"/>
              <a:ext cx="29904" cy="64528"/>
            </a:xfrm>
            <a:custGeom>
              <a:avLst/>
              <a:gdLst>
                <a:gd name="T0" fmla="*/ 0 w 53"/>
                <a:gd name="T1" fmla="*/ 2147483647 h 19"/>
                <a:gd name="T2" fmla="*/ 1257488026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1257488026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2" name="Freeform 198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8159085" y="5847862"/>
              <a:ext cx="43859" cy="66320"/>
            </a:xfrm>
            <a:custGeom>
              <a:avLst/>
              <a:gdLst>
                <a:gd name="T0" fmla="*/ 0 w 80"/>
                <a:gd name="T1" fmla="*/ 0 h 18"/>
                <a:gd name="T2" fmla="*/ 164709185 w 80"/>
                <a:gd name="T3" fmla="*/ 2147483647 h 18"/>
                <a:gd name="T4" fmla="*/ 823846908 w 80"/>
                <a:gd name="T5" fmla="*/ 2147483647 h 18"/>
                <a:gd name="T6" fmla="*/ 1318275445 w 80"/>
                <a:gd name="T7" fmla="*/ 2147483647 h 18"/>
                <a:gd name="T8" fmla="*/ 1812703435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3" name="Freeform 199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8159085" y="5824560"/>
              <a:ext cx="27910" cy="68113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010370648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4" name="Freeform 200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121208" y="5817390"/>
              <a:ext cx="31897" cy="68113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061005162 w 54"/>
                <a:gd name="T5" fmla="*/ 2147483647 h 39"/>
                <a:gd name="T6" fmla="*/ 1236533278 w 54"/>
                <a:gd name="T7" fmla="*/ 2147483647 h 39"/>
                <a:gd name="T8" fmla="*/ 824471884 w 54"/>
                <a:gd name="T9" fmla="*/ 2147483647 h 39"/>
                <a:gd name="T10" fmla="*/ 412061395 w 54"/>
                <a:gd name="T11" fmla="*/ 2147483647 h 39"/>
                <a:gd name="T12" fmla="*/ 0 w 54"/>
                <a:gd name="T13" fmla="*/ 2147483647 h 39"/>
                <a:gd name="T14" fmla="*/ 412061395 w 54"/>
                <a:gd name="T15" fmla="*/ 2147483647 h 39"/>
                <a:gd name="T16" fmla="*/ 618266639 w 54"/>
                <a:gd name="T17" fmla="*/ 2147483647 h 39"/>
                <a:gd name="T18" fmla="*/ 1030328034 w 54"/>
                <a:gd name="T19" fmla="*/ 2147483647 h 39"/>
                <a:gd name="T20" fmla="*/ 1648595264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5" name="Freeform 201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089310" y="5806635"/>
              <a:ext cx="35884" cy="66321"/>
            </a:xfrm>
            <a:custGeom>
              <a:avLst/>
              <a:gdLst>
                <a:gd name="T0" fmla="*/ 0 w 60"/>
                <a:gd name="T1" fmla="*/ 2147483647 h 15"/>
                <a:gd name="T2" fmla="*/ 2139306595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1497264086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6" name="Freeform 202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8059406" y="5792296"/>
              <a:ext cx="41866" cy="64528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1488204873 w 79"/>
                <a:gd name="T13" fmla="*/ 2147483647 h 32"/>
                <a:gd name="T14" fmla="*/ 744242873 w 79"/>
                <a:gd name="T15" fmla="*/ 2147483647 h 32"/>
                <a:gd name="T16" fmla="*/ 0 w 79"/>
                <a:gd name="T17" fmla="*/ 2147483647 h 32"/>
                <a:gd name="T18" fmla="*/ 744242873 w 79"/>
                <a:gd name="T19" fmla="*/ 2147483647 h 32"/>
                <a:gd name="T20" fmla="*/ 1488204873 w 79"/>
                <a:gd name="T21" fmla="*/ 2147483647 h 32"/>
                <a:gd name="T22" fmla="*/ 1785901810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7" name="Freeform 203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8051432" y="5770786"/>
              <a:ext cx="37878" cy="64528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1701204284 w 66"/>
                <a:gd name="T9" fmla="*/ 2147483647 h 19"/>
                <a:gd name="T10" fmla="*/ 945296568 w 66"/>
                <a:gd name="T11" fmla="*/ 2147483647 h 19"/>
                <a:gd name="T12" fmla="*/ 37811885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8" name="Freeform 204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7925838" y="5421258"/>
              <a:ext cx="31897" cy="68113"/>
            </a:xfrm>
            <a:custGeom>
              <a:avLst/>
              <a:gdLst>
                <a:gd name="T0" fmla="*/ 2147483647 w 53"/>
                <a:gd name="T1" fmla="*/ 0 h 80"/>
                <a:gd name="T2" fmla="*/ 1743990743 w 53"/>
                <a:gd name="T3" fmla="*/ 2147483647 h 80"/>
                <a:gd name="T4" fmla="*/ 871814220 w 53"/>
                <a:gd name="T5" fmla="*/ 2147483647 h 80"/>
                <a:gd name="T6" fmla="*/ 436088562 w 53"/>
                <a:gd name="T7" fmla="*/ 2147483647 h 80"/>
                <a:gd name="T8" fmla="*/ 218044281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436088562 w 53"/>
                <a:gd name="T17" fmla="*/ 2147483647 h 80"/>
                <a:gd name="T18" fmla="*/ 1307902783 w 53"/>
                <a:gd name="T19" fmla="*/ 2147483647 h 80"/>
                <a:gd name="T20" fmla="*/ 1961672722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616892630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9" name="Freeform 205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7963715" y="5528805"/>
              <a:ext cx="21930" cy="60943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1530319795 w 41"/>
                <a:gd name="T17" fmla="*/ 2147483647 h 43"/>
                <a:gd name="T18" fmla="*/ 918077520 w 41"/>
                <a:gd name="T19" fmla="*/ 2147483647 h 43"/>
                <a:gd name="T20" fmla="*/ 459181572 w 41"/>
                <a:gd name="T21" fmla="*/ 2147483647 h 43"/>
                <a:gd name="T22" fmla="*/ 153060702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0" name="Freeform 206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7969696" y="5553900"/>
              <a:ext cx="9967" cy="66320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123679506 w 20"/>
                <a:gd name="T5" fmla="*/ 2147483647 h 24"/>
                <a:gd name="T6" fmla="*/ 247607689 w 20"/>
                <a:gd name="T7" fmla="*/ 2147483647 h 24"/>
                <a:gd name="T8" fmla="*/ 494967200 w 20"/>
                <a:gd name="T9" fmla="*/ 2147483647 h 24"/>
                <a:gd name="T10" fmla="*/ 866254396 w 20"/>
                <a:gd name="T11" fmla="*/ 2147483647 h 24"/>
                <a:gd name="T12" fmla="*/ 1237789770 w 20"/>
                <a:gd name="T13" fmla="*/ 2147483647 h 24"/>
                <a:gd name="T14" fmla="*/ 1732756970 w 20"/>
                <a:gd name="T15" fmla="*/ 2147483647 h 24"/>
                <a:gd name="T16" fmla="*/ 2104044165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1" name="Freeform 207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7987638" y="5623805"/>
              <a:ext cx="21930" cy="68113"/>
            </a:xfrm>
            <a:custGeom>
              <a:avLst/>
              <a:gdLst>
                <a:gd name="T0" fmla="*/ 0 w 39"/>
                <a:gd name="T1" fmla="*/ 2147483647 h 43"/>
                <a:gd name="T2" fmla="*/ 355713597 w 39"/>
                <a:gd name="T3" fmla="*/ 2147483647 h 43"/>
                <a:gd name="T4" fmla="*/ 1066824774 w 39"/>
                <a:gd name="T5" fmla="*/ 2147483647 h 43"/>
                <a:gd name="T6" fmla="*/ 2133649548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1066824774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2" name="Freeform 208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7971689" y="5638145"/>
              <a:ext cx="33891" cy="66321"/>
            </a:xfrm>
            <a:custGeom>
              <a:avLst/>
              <a:gdLst>
                <a:gd name="T0" fmla="*/ 2147483647 w 55"/>
                <a:gd name="T1" fmla="*/ 2147483647 h 62"/>
                <a:gd name="T2" fmla="*/ 1871933029 w 55"/>
                <a:gd name="T3" fmla="*/ 0 h 62"/>
                <a:gd name="T4" fmla="*/ 935966515 w 55"/>
                <a:gd name="T5" fmla="*/ 2147483647 h 62"/>
                <a:gd name="T6" fmla="*/ 233896580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467793160 w 55"/>
                <a:gd name="T13" fmla="*/ 2147483647 h 62"/>
                <a:gd name="T14" fmla="*/ 935966515 w 55"/>
                <a:gd name="T15" fmla="*/ 2147483647 h 62"/>
                <a:gd name="T16" fmla="*/ 1871933029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3" name="Freeform 209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8009568" y="5675787"/>
              <a:ext cx="13954" cy="66320"/>
            </a:xfrm>
            <a:custGeom>
              <a:avLst/>
              <a:gdLst>
                <a:gd name="T0" fmla="*/ 2091309104 w 35"/>
                <a:gd name="T1" fmla="*/ 2147483647 h 43"/>
                <a:gd name="T2" fmla="*/ 443630352 w 35"/>
                <a:gd name="T3" fmla="*/ 0 h 43"/>
                <a:gd name="T4" fmla="*/ 253525840 w 35"/>
                <a:gd name="T5" fmla="*/ 2147483647 h 43"/>
                <a:gd name="T6" fmla="*/ 0 w 35"/>
                <a:gd name="T7" fmla="*/ 2147483647 h 43"/>
                <a:gd name="T8" fmla="*/ 126683582 w 35"/>
                <a:gd name="T9" fmla="*/ 2147483647 h 43"/>
                <a:gd name="T10" fmla="*/ 316788094 w 35"/>
                <a:gd name="T11" fmla="*/ 2147483647 h 43"/>
                <a:gd name="T12" fmla="*/ 380209024 w 35"/>
                <a:gd name="T13" fmla="*/ 2147483647 h 43"/>
                <a:gd name="T14" fmla="*/ 506892605 w 35"/>
                <a:gd name="T15" fmla="*/ 2147483647 h 43"/>
                <a:gd name="T16" fmla="*/ 697156193 w 35"/>
                <a:gd name="T17" fmla="*/ 2147483647 h 43"/>
                <a:gd name="T18" fmla="*/ 887260704 w 35"/>
                <a:gd name="T19" fmla="*/ 2147483647 h 43"/>
                <a:gd name="T20" fmla="*/ 1140627469 w 35"/>
                <a:gd name="T21" fmla="*/ 2147483647 h 43"/>
                <a:gd name="T22" fmla="*/ 1394152911 w 35"/>
                <a:gd name="T23" fmla="*/ 2147483647 h 43"/>
                <a:gd name="T24" fmla="*/ 1647678752 w 35"/>
                <a:gd name="T25" fmla="*/ 2147483647 h 43"/>
                <a:gd name="T26" fmla="*/ 1774362333 w 35"/>
                <a:gd name="T27" fmla="*/ 2147483647 h 43"/>
                <a:gd name="T28" fmla="*/ 1964466845 w 35"/>
                <a:gd name="T29" fmla="*/ 2147483647 h 43"/>
                <a:gd name="T30" fmla="*/ 2091309104 w 35"/>
                <a:gd name="T31" fmla="*/ 2147483647 h 43"/>
                <a:gd name="T32" fmla="*/ 2147483647 w 35"/>
                <a:gd name="T33" fmla="*/ 2147483647 h 43"/>
                <a:gd name="T34" fmla="*/ 2091309104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4" name="Freeform 210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005580" y="5713428"/>
              <a:ext cx="25916" cy="62736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1987659404 w 53"/>
                <a:gd name="T11" fmla="*/ 2147483647 h 21"/>
                <a:gd name="T12" fmla="*/ 1519974867 w 53"/>
                <a:gd name="T13" fmla="*/ 2147483647 h 21"/>
                <a:gd name="T14" fmla="*/ 935369074 w 53"/>
                <a:gd name="T15" fmla="*/ 2147483647 h 21"/>
                <a:gd name="T16" fmla="*/ 0 w 53"/>
                <a:gd name="T17" fmla="*/ 2147483647 h 21"/>
                <a:gd name="T18" fmla="*/ 584605793 w 53"/>
                <a:gd name="T19" fmla="*/ 2147483647 h 21"/>
                <a:gd name="T20" fmla="*/ 1286132843 w 53"/>
                <a:gd name="T21" fmla="*/ 2147483647 h 21"/>
                <a:gd name="T22" fmla="*/ 1987659404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5" name="Freeform 211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8035483" y="5729560"/>
              <a:ext cx="21930" cy="64528"/>
            </a:xfrm>
            <a:custGeom>
              <a:avLst/>
              <a:gdLst>
                <a:gd name="T0" fmla="*/ 2147483647 w 43"/>
                <a:gd name="T1" fmla="*/ 0 h 38"/>
                <a:gd name="T2" fmla="*/ 1591812000 w 43"/>
                <a:gd name="T3" fmla="*/ 0 h 38"/>
                <a:gd name="T4" fmla="*/ 265302000 w 43"/>
                <a:gd name="T5" fmla="*/ 0 h 38"/>
                <a:gd name="T6" fmla="*/ 132651000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132651000 w 43"/>
                <a:gd name="T15" fmla="*/ 2147483647 h 38"/>
                <a:gd name="T16" fmla="*/ 265302000 w 43"/>
                <a:gd name="T17" fmla="*/ 2147483647 h 38"/>
                <a:gd name="T18" fmla="*/ 397953000 w 43"/>
                <a:gd name="T19" fmla="*/ 2147483647 h 38"/>
                <a:gd name="T20" fmla="*/ 663255000 w 43"/>
                <a:gd name="T21" fmla="*/ 2147483647 h 38"/>
                <a:gd name="T22" fmla="*/ 1326510000 w 43"/>
                <a:gd name="T23" fmla="*/ 2147483647 h 38"/>
                <a:gd name="T24" fmla="*/ 1989765000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6" name="Freeform 212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8037478" y="5761824"/>
              <a:ext cx="7974" cy="64528"/>
            </a:xfrm>
            <a:custGeom>
              <a:avLst/>
              <a:gdLst>
                <a:gd name="T0" fmla="*/ 0 w 20"/>
                <a:gd name="T1" fmla="*/ 0 h 5"/>
                <a:gd name="T2" fmla="*/ 63425595 w 20"/>
                <a:gd name="T3" fmla="*/ 2147483647 h 5"/>
                <a:gd name="T4" fmla="*/ 126692507 w 20"/>
                <a:gd name="T5" fmla="*/ 2147483647 h 5"/>
                <a:gd name="T6" fmla="*/ 253544095 w 20"/>
                <a:gd name="T7" fmla="*/ 2147483647 h 5"/>
                <a:gd name="T8" fmla="*/ 443662196 w 20"/>
                <a:gd name="T9" fmla="*/ 2147483647 h 5"/>
                <a:gd name="T10" fmla="*/ 697205893 w 20"/>
                <a:gd name="T11" fmla="*/ 2147483647 h 5"/>
                <a:gd name="T12" fmla="*/ 887323994 w 20"/>
                <a:gd name="T13" fmla="*/ 2147483647 h 5"/>
                <a:gd name="T14" fmla="*/ 1077442494 w 20"/>
                <a:gd name="T15" fmla="*/ 2147483647 h 5"/>
                <a:gd name="T16" fmla="*/ 1267560596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7" name="Freeform 213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8131175" y="5840692"/>
              <a:ext cx="43859" cy="64528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1301298933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8" name="Freeform 214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8179021" y="5774371"/>
              <a:ext cx="155499" cy="112925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1016671277 w 281"/>
                <a:gd name="T25" fmla="*/ 2147483647 h 193"/>
                <a:gd name="T26" fmla="*/ 0 w 281"/>
                <a:gd name="T27" fmla="*/ 2147483647 h 193"/>
                <a:gd name="T28" fmla="*/ 169343391 w 281"/>
                <a:gd name="T29" fmla="*/ 2147483647 h 193"/>
                <a:gd name="T30" fmla="*/ 1525007469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9" name="Freeform 215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7616833" y="3252388"/>
              <a:ext cx="65789" cy="66320"/>
            </a:xfrm>
            <a:custGeom>
              <a:avLst/>
              <a:gdLst>
                <a:gd name="T0" fmla="*/ 0 w 120"/>
                <a:gd name="T1" fmla="*/ 2147483647 h 56"/>
                <a:gd name="T2" fmla="*/ 659147666 w 120"/>
                <a:gd name="T3" fmla="*/ 2147483647 h 56"/>
                <a:gd name="T4" fmla="*/ 1647718948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1660598323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1318295333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0" name="Freeform 216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7435618" y="3097882"/>
              <a:ext cx="315381" cy="123524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1" name="Freeform 217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7820178" y="3212954"/>
              <a:ext cx="111640" cy="78868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1599801309 h 129"/>
                <a:gd name="T44" fmla="*/ 2147483647 w 207"/>
                <a:gd name="T45" fmla="*/ 0 h 129"/>
                <a:gd name="T46" fmla="*/ 0 w 207"/>
                <a:gd name="T47" fmla="*/ 0 h 129"/>
                <a:gd name="T48" fmla="*/ 156778695 w 207"/>
                <a:gd name="T49" fmla="*/ 1371044369 h 129"/>
                <a:gd name="T50" fmla="*/ 313848624 w 207"/>
                <a:gd name="T51" fmla="*/ 2147483647 h 129"/>
                <a:gd name="T52" fmla="*/ 627406553 w 207"/>
                <a:gd name="T53" fmla="*/ 2147483647 h 129"/>
                <a:gd name="T54" fmla="*/ 941255177 w 207"/>
                <a:gd name="T55" fmla="*/ 2147483647 h 129"/>
                <a:gd name="T56" fmla="*/ 1568662269 w 207"/>
                <a:gd name="T57" fmla="*/ 2147483647 h 129"/>
                <a:gd name="T58" fmla="*/ 2039289588 w 207"/>
                <a:gd name="T59" fmla="*/ 2147483647 h 129"/>
                <a:gd name="T60" fmla="*/ 2147483647 w 207"/>
                <a:gd name="T61" fmla="*/ 2147483647 h 129"/>
                <a:gd name="T62" fmla="*/ 2147483647 w 207"/>
                <a:gd name="T63" fmla="*/ 2147483647 h 129"/>
                <a:gd name="T64" fmla="*/ 2147483647 w 207"/>
                <a:gd name="T65" fmla="*/ 2147483647 h 129"/>
                <a:gd name="T66" fmla="*/ 2147483647 w 207"/>
                <a:gd name="T67" fmla="*/ 2147483647 h 129"/>
                <a:gd name="T68" fmla="*/ 1725731659 w 207"/>
                <a:gd name="T69" fmla="*/ 2147483647 h 129"/>
                <a:gd name="T70" fmla="*/ 1098034411 w 207"/>
                <a:gd name="T71" fmla="*/ 2147483647 h 129"/>
                <a:gd name="T72" fmla="*/ 0 w 207"/>
                <a:gd name="T73" fmla="*/ 2147483647 h 129"/>
                <a:gd name="T74" fmla="*/ 627406553 w 207"/>
                <a:gd name="T75" fmla="*/ 2147483647 h 129"/>
                <a:gd name="T76" fmla="*/ 2039289588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4FD1FF"/>
            </a:solidFill>
            <a:ln w="9525" cmpd="sng">
              <a:solidFill>
                <a:srgbClr val="4F81BD">
                  <a:lumMod val="75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2" name="Freeform 218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7277926" y="3281067"/>
              <a:ext cx="41866" cy="95000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939184805 h 154"/>
                <a:gd name="T4" fmla="*/ 2147483647 w 72"/>
                <a:gd name="T5" fmla="*/ 2112784578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589664003 w 72"/>
                <a:gd name="T45" fmla="*/ 2147483647 h 154"/>
                <a:gd name="T46" fmla="*/ 1572887594 w 72"/>
                <a:gd name="T47" fmla="*/ 2147483647 h 154"/>
                <a:gd name="T48" fmla="*/ 1769329263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3" name="Freeform 219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7178247" y="3281067"/>
              <a:ext cx="117621" cy="164906"/>
            </a:xfrm>
            <a:custGeom>
              <a:avLst/>
              <a:gdLst>
                <a:gd name="T0" fmla="*/ 1328307694 w 214"/>
                <a:gd name="T1" fmla="*/ 2147483647 h 271"/>
                <a:gd name="T2" fmla="*/ 1992612414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676137723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4" name="Freeform 220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7238054" y="3406539"/>
              <a:ext cx="89711" cy="64528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1410964054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5" name="Freeform 221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7277926" y="3363520"/>
              <a:ext cx="179421" cy="98584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397109769 h 169"/>
                <a:gd name="T40" fmla="*/ 2147483647 w 332"/>
                <a:gd name="T41" fmla="*/ 198384842 h 169"/>
                <a:gd name="T42" fmla="*/ 2147483647 w 332"/>
                <a:gd name="T43" fmla="*/ 0 h 169"/>
                <a:gd name="T44" fmla="*/ 2147483647 w 332"/>
                <a:gd name="T45" fmla="*/ 198384842 h 169"/>
                <a:gd name="T46" fmla="*/ 2147483647 w 332"/>
                <a:gd name="T47" fmla="*/ 793878869 h 169"/>
                <a:gd name="T48" fmla="*/ 2147483647 w 332"/>
                <a:gd name="T49" fmla="*/ 1984866923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1736289983 w 332"/>
                <a:gd name="T67" fmla="*/ 2147483647 h 169"/>
                <a:gd name="T68" fmla="*/ 1104858846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6" name="Freeform 222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7299856" y="3397576"/>
              <a:ext cx="157492" cy="138020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1418063878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7" name="Freeform 223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7363650" y="3524841"/>
              <a:ext cx="105659" cy="112924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1779836163 w 205"/>
                <a:gd name="T43" fmla="*/ 2147483647 h 191"/>
                <a:gd name="T44" fmla="*/ 547764604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410690348 w 205"/>
                <a:gd name="T51" fmla="*/ 2147483647 h 191"/>
                <a:gd name="T52" fmla="*/ 1095263256 w 205"/>
                <a:gd name="T53" fmla="*/ 2147483647 h 191"/>
                <a:gd name="T54" fmla="*/ 1916910419 w 205"/>
                <a:gd name="T55" fmla="*/ 2147483647 h 191"/>
                <a:gd name="T56" fmla="*/ 2147483647 w 205"/>
                <a:gd name="T57" fmla="*/ 826678766 h 191"/>
                <a:gd name="T58" fmla="*/ 2147483647 w 205"/>
                <a:gd name="T59" fmla="*/ 0 h 191"/>
                <a:gd name="T60" fmla="*/ 2147483647 w 205"/>
                <a:gd name="T61" fmla="*/ 1239844033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8" name="Freeform 224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7465322" y="3585785"/>
              <a:ext cx="179421" cy="89623"/>
            </a:xfrm>
            <a:custGeom>
              <a:avLst/>
              <a:gdLst>
                <a:gd name="T0" fmla="*/ 486561939 w 329"/>
                <a:gd name="T1" fmla="*/ 2147483647 h 154"/>
                <a:gd name="T2" fmla="*/ 0 w 329"/>
                <a:gd name="T3" fmla="*/ 2147483647 h 154"/>
                <a:gd name="T4" fmla="*/ 324473880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788461252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1182692460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486561939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9" name="Freeform 225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8320565" y="5001824"/>
              <a:ext cx="167460" cy="175661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163819660 w 306"/>
                <a:gd name="T37" fmla="*/ 2147483647 h 293"/>
                <a:gd name="T38" fmla="*/ 0 w 306"/>
                <a:gd name="T39" fmla="*/ 2147483647 h 293"/>
                <a:gd name="T40" fmla="*/ 163819660 w 306"/>
                <a:gd name="T41" fmla="*/ 2147483647 h 293"/>
                <a:gd name="T42" fmla="*/ 655579085 w 306"/>
                <a:gd name="T43" fmla="*/ 2147483647 h 293"/>
                <a:gd name="T44" fmla="*/ 1802917593 w 306"/>
                <a:gd name="T45" fmla="*/ 2147483647 h 293"/>
                <a:gd name="T46" fmla="*/ 2147483647 w 306"/>
                <a:gd name="T47" fmla="*/ 1723830938 h 293"/>
                <a:gd name="T48" fmla="*/ 2147483647 w 306"/>
                <a:gd name="T49" fmla="*/ 430957585 h 293"/>
                <a:gd name="T50" fmla="*/ 2147483647 w 306"/>
                <a:gd name="T51" fmla="*/ 0 h 293"/>
                <a:gd name="T52" fmla="*/ 2147483647 w 306"/>
                <a:gd name="T53" fmla="*/ 1292873353 h 293"/>
                <a:gd name="T54" fmla="*/ 2147483647 w 306"/>
                <a:gd name="T55" fmla="*/ 1508531704 h 293"/>
                <a:gd name="T56" fmla="*/ 2147483647 w 306"/>
                <a:gd name="T57" fmla="*/ 861915169 h 293"/>
                <a:gd name="T58" fmla="*/ 2147483647 w 306"/>
                <a:gd name="T59" fmla="*/ 1077574119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80" name="Freeform 363"/>
            <p:cNvSpPr>
              <a:spLocks/>
            </p:cNvSpPr>
            <p:nvPr/>
          </p:nvSpPr>
          <p:spPr bwMode="auto">
            <a:xfrm>
              <a:off x="7496104" y="3863615"/>
              <a:ext cx="190505" cy="227642"/>
            </a:xfrm>
            <a:custGeom>
              <a:avLst/>
              <a:gdLst>
                <a:gd name="T0" fmla="*/ 2147483647 w 352"/>
                <a:gd name="T1" fmla="*/ 2147483647 h 387"/>
                <a:gd name="T2" fmla="*/ 2147483647 w 352"/>
                <a:gd name="T3" fmla="*/ 2147483647 h 387"/>
                <a:gd name="T4" fmla="*/ 2147483647 w 352"/>
                <a:gd name="T5" fmla="*/ 2147483647 h 387"/>
                <a:gd name="T6" fmla="*/ 2147483647 w 352"/>
                <a:gd name="T7" fmla="*/ 2147483647 h 387"/>
                <a:gd name="T8" fmla="*/ 2147483647 w 352"/>
                <a:gd name="T9" fmla="*/ 2147483647 h 387"/>
                <a:gd name="T10" fmla="*/ 2147483647 w 352"/>
                <a:gd name="T11" fmla="*/ 2147483647 h 387"/>
                <a:gd name="T12" fmla="*/ 2147483647 w 352"/>
                <a:gd name="T13" fmla="*/ 1221052865 h 387"/>
                <a:gd name="T14" fmla="*/ 2147483647 w 352"/>
                <a:gd name="T15" fmla="*/ 2147483647 h 387"/>
                <a:gd name="T16" fmla="*/ 2147483647 w 352"/>
                <a:gd name="T17" fmla="*/ 2147483647 h 387"/>
                <a:gd name="T18" fmla="*/ 2147483647 w 352"/>
                <a:gd name="T19" fmla="*/ 2147483647 h 387"/>
                <a:gd name="T20" fmla="*/ 2147483647 w 352"/>
                <a:gd name="T21" fmla="*/ 2147483647 h 387"/>
                <a:gd name="T22" fmla="*/ 2147483647 w 352"/>
                <a:gd name="T23" fmla="*/ 2147483647 h 387"/>
                <a:gd name="T24" fmla="*/ 2147483647 w 352"/>
                <a:gd name="T25" fmla="*/ 2147483647 h 387"/>
                <a:gd name="T26" fmla="*/ 2147483647 w 352"/>
                <a:gd name="T27" fmla="*/ 2147483647 h 387"/>
                <a:gd name="T28" fmla="*/ 1109526016 w 352"/>
                <a:gd name="T29" fmla="*/ 2147483647 h 387"/>
                <a:gd name="T30" fmla="*/ 0 w 352"/>
                <a:gd name="T31" fmla="*/ 2147483647 h 387"/>
                <a:gd name="T32" fmla="*/ 0 w 352"/>
                <a:gd name="T33" fmla="*/ 2147483647 h 387"/>
                <a:gd name="T34" fmla="*/ 475678537 w 352"/>
                <a:gd name="T35" fmla="*/ 2147483647 h 387"/>
                <a:gd name="T36" fmla="*/ 1426742277 w 352"/>
                <a:gd name="T37" fmla="*/ 2147483647 h 387"/>
                <a:gd name="T38" fmla="*/ 2147483647 w 352"/>
                <a:gd name="T39" fmla="*/ 2147483647 h 387"/>
                <a:gd name="T40" fmla="*/ 2147483647 w 352"/>
                <a:gd name="T41" fmla="*/ 2147483647 h 387"/>
                <a:gd name="T42" fmla="*/ 2147483647 w 352"/>
                <a:gd name="T43" fmla="*/ 2147483647 h 387"/>
                <a:gd name="T44" fmla="*/ 2147483647 w 352"/>
                <a:gd name="T45" fmla="*/ 2147483647 h 387"/>
                <a:gd name="T46" fmla="*/ 2147483647 w 352"/>
                <a:gd name="T47" fmla="*/ 2147483647 h 387"/>
                <a:gd name="T48" fmla="*/ 2147483647 w 352"/>
                <a:gd name="T49" fmla="*/ 2147483647 h 387"/>
                <a:gd name="T50" fmla="*/ 2147483647 w 352"/>
                <a:gd name="T51" fmla="*/ 2147483647 h 387"/>
                <a:gd name="T52" fmla="*/ 2147483647 w 352"/>
                <a:gd name="T53" fmla="*/ 2147483647 h 387"/>
                <a:gd name="T54" fmla="*/ 2147483647 w 352"/>
                <a:gd name="T55" fmla="*/ 2147483647 h 387"/>
                <a:gd name="T56" fmla="*/ 2147483647 w 352"/>
                <a:gd name="T57" fmla="*/ 2147483647 h 387"/>
                <a:gd name="T58" fmla="*/ 2147483647 w 352"/>
                <a:gd name="T59" fmla="*/ 2147483647 h 387"/>
                <a:gd name="T60" fmla="*/ 2147483647 w 352"/>
                <a:gd name="T61" fmla="*/ 2147483647 h 387"/>
                <a:gd name="T62" fmla="*/ 2147483647 w 352"/>
                <a:gd name="T63" fmla="*/ 2147483647 h 387"/>
                <a:gd name="T64" fmla="*/ 2147483647 w 352"/>
                <a:gd name="T65" fmla="*/ 2147483647 h 387"/>
                <a:gd name="T66" fmla="*/ 2147483647 w 352"/>
                <a:gd name="T67" fmla="*/ 2147483647 h 387"/>
                <a:gd name="T68" fmla="*/ 2147483647 w 352"/>
                <a:gd name="T69" fmla="*/ 2147483647 h 387"/>
                <a:gd name="T70" fmla="*/ 2147483647 w 352"/>
                <a:gd name="T71" fmla="*/ 2147483647 h 387"/>
                <a:gd name="T72" fmla="*/ 2147483647 w 352"/>
                <a:gd name="T73" fmla="*/ 2147483647 h 387"/>
                <a:gd name="T74" fmla="*/ 2147483647 w 352"/>
                <a:gd name="T75" fmla="*/ 2147483647 h 387"/>
                <a:gd name="T76" fmla="*/ 2147483647 w 352"/>
                <a:gd name="T77" fmla="*/ 2147483647 h 387"/>
                <a:gd name="T78" fmla="*/ 2147483647 w 352"/>
                <a:gd name="T79" fmla="*/ 2147483647 h 387"/>
                <a:gd name="T80" fmla="*/ 2147483647 w 352"/>
                <a:gd name="T81" fmla="*/ 2147483647 h 387"/>
                <a:gd name="T82" fmla="*/ 2147483647 w 352"/>
                <a:gd name="T83" fmla="*/ 2147483647 h 387"/>
                <a:gd name="T84" fmla="*/ 2147483647 w 352"/>
                <a:gd name="T85" fmla="*/ 2147483647 h 387"/>
                <a:gd name="T86" fmla="*/ 2147483647 w 352"/>
                <a:gd name="T87" fmla="*/ 2147483647 h 387"/>
                <a:gd name="T88" fmla="*/ 2147483647 w 352"/>
                <a:gd name="T89" fmla="*/ 2147483647 h 387"/>
                <a:gd name="T90" fmla="*/ 2147483647 w 352"/>
                <a:gd name="T91" fmla="*/ 2147483647 h 387"/>
                <a:gd name="T92" fmla="*/ 2147483647 w 352"/>
                <a:gd name="T93" fmla="*/ 2147483647 h 387"/>
                <a:gd name="T94" fmla="*/ 2147483647 w 352"/>
                <a:gd name="T95" fmla="*/ 2147483647 h 387"/>
                <a:gd name="T96" fmla="*/ 2147483647 w 352"/>
                <a:gd name="T97" fmla="*/ 2147483647 h 387"/>
                <a:gd name="T98" fmla="*/ 2147483647 w 352"/>
                <a:gd name="T99" fmla="*/ 2147483647 h 387"/>
                <a:gd name="T100" fmla="*/ 2147483647 w 352"/>
                <a:gd name="T101" fmla="*/ 2147483647 h 387"/>
                <a:gd name="T102" fmla="*/ 2147483647 w 352"/>
                <a:gd name="T103" fmla="*/ 2147483647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81" name="Group 391"/>
            <p:cNvGrpSpPr>
              <a:grpSpLocks/>
            </p:cNvGrpSpPr>
            <p:nvPr>
              <p:custDataLst>
                <p:tags r:id="rId48"/>
              </p:custDataLst>
            </p:nvPr>
          </p:nvGrpSpPr>
          <p:grpSpPr bwMode="auto">
            <a:xfrm>
              <a:off x="6508407" y="1124744"/>
              <a:ext cx="2382319" cy="1279813"/>
              <a:chOff x="527" y="1110"/>
              <a:chExt cx="1410" cy="709"/>
            </a:xfrm>
            <a:grpFill/>
          </p:grpSpPr>
          <p:sp>
            <p:nvSpPr>
              <p:cNvPr id="688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9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0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1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2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3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4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5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6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7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8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9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0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1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2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3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4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5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6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7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8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9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0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1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2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3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4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5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6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7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8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9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0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1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2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3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4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5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6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7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8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9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chemeClr val="tx1">
                  <a:lumMod val="95000"/>
                </a:schemeClr>
              </a:solidFill>
              <a:ln w="9525" cap="flat" cmpd="sng">
                <a:solidFill>
                  <a:srgbClr val="4F81B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82" name="Freeform 439"/>
            <p:cNvSpPr>
              <a:spLocks/>
            </p:cNvSpPr>
            <p:nvPr/>
          </p:nvSpPr>
          <p:spPr bwMode="auto">
            <a:xfrm>
              <a:off x="8208292" y="5427862"/>
              <a:ext cx="24954" cy="30147"/>
            </a:xfrm>
            <a:custGeom>
              <a:avLst/>
              <a:gdLst>
                <a:gd name="T0" fmla="*/ 2147483647 w 46"/>
                <a:gd name="T1" fmla="*/ 2147483647 h 51"/>
                <a:gd name="T2" fmla="*/ 2147483647 w 46"/>
                <a:gd name="T3" fmla="*/ 0 h 51"/>
                <a:gd name="T4" fmla="*/ 2075281508 w 46"/>
                <a:gd name="T5" fmla="*/ 1032885874 h 51"/>
                <a:gd name="T6" fmla="*/ 1117391297 w 46"/>
                <a:gd name="T7" fmla="*/ 1858914856 h 51"/>
                <a:gd name="T8" fmla="*/ 638593474 w 46"/>
                <a:gd name="T9" fmla="*/ 2147483647 h 51"/>
                <a:gd name="T10" fmla="*/ 319296737 w 46"/>
                <a:gd name="T11" fmla="*/ 2147483647 h 51"/>
                <a:gd name="T12" fmla="*/ 0 w 46"/>
                <a:gd name="T13" fmla="*/ 2147483647 h 51"/>
                <a:gd name="T14" fmla="*/ 0 w 46"/>
                <a:gd name="T15" fmla="*/ 2147483647 h 51"/>
                <a:gd name="T16" fmla="*/ 0 w 46"/>
                <a:gd name="T17" fmla="*/ 2147483647 h 51"/>
                <a:gd name="T18" fmla="*/ 319296737 w 46"/>
                <a:gd name="T19" fmla="*/ 2147483647 h 51"/>
                <a:gd name="T20" fmla="*/ 638593474 w 46"/>
                <a:gd name="T21" fmla="*/ 2147483647 h 51"/>
                <a:gd name="T22" fmla="*/ 1117391297 w 46"/>
                <a:gd name="T23" fmla="*/ 2147483647 h 51"/>
                <a:gd name="T24" fmla="*/ 1596483685 w 46"/>
                <a:gd name="T25" fmla="*/ 2147483647 h 51"/>
                <a:gd name="T26" fmla="*/ 2075281508 w 46"/>
                <a:gd name="T27" fmla="*/ 2147483647 h 51"/>
                <a:gd name="T28" fmla="*/ 2147483647 w 46"/>
                <a:gd name="T29" fmla="*/ 2147483647 h 51"/>
                <a:gd name="T30" fmla="*/ 2147483647 w 46"/>
                <a:gd name="T31" fmla="*/ 2147483647 h 51"/>
                <a:gd name="T32" fmla="*/ 2147483647 w 46"/>
                <a:gd name="T33" fmla="*/ 2147483647 h 51"/>
                <a:gd name="T34" fmla="*/ 2147483647 w 46"/>
                <a:gd name="T35" fmla="*/ 2147483647 h 51"/>
                <a:gd name="T36" fmla="*/ 2147483647 w 46"/>
                <a:gd name="T37" fmla="*/ 2147483647 h 51"/>
                <a:gd name="T38" fmla="*/ 2147483647 w 46"/>
                <a:gd name="T39" fmla="*/ 2147483647 h 51"/>
                <a:gd name="T40" fmla="*/ 2147483647 w 46"/>
                <a:gd name="T41" fmla="*/ 2147483647 h 51"/>
                <a:gd name="T42" fmla="*/ 2147483647 w 46"/>
                <a:gd name="T43" fmla="*/ 2147483647 h 51"/>
                <a:gd name="T44" fmla="*/ 2147483647 w 46"/>
                <a:gd name="T45" fmla="*/ 2147483647 h 51"/>
                <a:gd name="T46" fmla="*/ 2147483647 w 46"/>
                <a:gd name="T47" fmla="*/ 2147483647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83" name="Freeform 440"/>
            <p:cNvSpPr>
              <a:spLocks/>
            </p:cNvSpPr>
            <p:nvPr/>
          </p:nvSpPr>
          <p:spPr bwMode="auto">
            <a:xfrm>
              <a:off x="8226591" y="5780761"/>
              <a:ext cx="104807" cy="93988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2147483647 h 158"/>
                <a:gd name="T4" fmla="*/ 325387524 w 192"/>
                <a:gd name="T5" fmla="*/ 2147483647 h 158"/>
                <a:gd name="T6" fmla="*/ 650477003 w 192"/>
                <a:gd name="T7" fmla="*/ 2147483647 h 158"/>
                <a:gd name="T8" fmla="*/ 1138557744 w 192"/>
                <a:gd name="T9" fmla="*/ 2147483647 h 158"/>
                <a:gd name="T10" fmla="*/ 1789332792 w 192"/>
                <a:gd name="T11" fmla="*/ 2147483647 h 158"/>
                <a:gd name="T12" fmla="*/ 2147483647 w 192"/>
                <a:gd name="T13" fmla="*/ 2147483647 h 158"/>
                <a:gd name="T14" fmla="*/ 2147483647 w 192"/>
                <a:gd name="T15" fmla="*/ 2147483647 h 158"/>
                <a:gd name="T16" fmla="*/ 2147483647 w 192"/>
                <a:gd name="T17" fmla="*/ 2147483647 h 158"/>
                <a:gd name="T18" fmla="*/ 2147483647 w 192"/>
                <a:gd name="T19" fmla="*/ 2147483647 h 158"/>
                <a:gd name="T20" fmla="*/ 2147483647 w 192"/>
                <a:gd name="T21" fmla="*/ 2147483647 h 158"/>
                <a:gd name="T22" fmla="*/ 2147483647 w 192"/>
                <a:gd name="T23" fmla="*/ 2147483647 h 158"/>
                <a:gd name="T24" fmla="*/ 2147483647 w 192"/>
                <a:gd name="T25" fmla="*/ 2147483647 h 158"/>
                <a:gd name="T26" fmla="*/ 2147483647 w 192"/>
                <a:gd name="T27" fmla="*/ 2147483647 h 158"/>
                <a:gd name="T28" fmla="*/ 2147483647 w 192"/>
                <a:gd name="T29" fmla="*/ 2147483647 h 158"/>
                <a:gd name="T30" fmla="*/ 2147483647 w 192"/>
                <a:gd name="T31" fmla="*/ 2147483647 h 158"/>
                <a:gd name="T32" fmla="*/ 2147483647 w 192"/>
                <a:gd name="T33" fmla="*/ 2147483647 h 158"/>
                <a:gd name="T34" fmla="*/ 2147483647 w 192"/>
                <a:gd name="T35" fmla="*/ 2147483647 h 158"/>
                <a:gd name="T36" fmla="*/ 2147483647 w 192"/>
                <a:gd name="T37" fmla="*/ 2147483647 h 158"/>
                <a:gd name="T38" fmla="*/ 2147483647 w 192"/>
                <a:gd name="T39" fmla="*/ 2147483647 h 158"/>
                <a:gd name="T40" fmla="*/ 2147483647 w 192"/>
                <a:gd name="T41" fmla="*/ 2147483647 h 158"/>
                <a:gd name="T42" fmla="*/ 2147483647 w 192"/>
                <a:gd name="T43" fmla="*/ 2147483647 h 158"/>
                <a:gd name="T44" fmla="*/ 2147483647 w 192"/>
                <a:gd name="T45" fmla="*/ 2147483647 h 158"/>
                <a:gd name="T46" fmla="*/ 2147483647 w 192"/>
                <a:gd name="T47" fmla="*/ 2147483647 h 158"/>
                <a:gd name="T48" fmla="*/ 2147483647 w 192"/>
                <a:gd name="T49" fmla="*/ 2147483647 h 158"/>
                <a:gd name="T50" fmla="*/ 2147483647 w 192"/>
                <a:gd name="T51" fmla="*/ 2147483647 h 158"/>
                <a:gd name="T52" fmla="*/ 2147483647 w 192"/>
                <a:gd name="T53" fmla="*/ 2147483647 h 158"/>
                <a:gd name="T54" fmla="*/ 2147483647 w 192"/>
                <a:gd name="T55" fmla="*/ 2147483647 h 158"/>
                <a:gd name="T56" fmla="*/ 2147483647 w 192"/>
                <a:gd name="T57" fmla="*/ 2147483647 h 158"/>
                <a:gd name="T58" fmla="*/ 2147483647 w 192"/>
                <a:gd name="T59" fmla="*/ 2147483647 h 158"/>
                <a:gd name="T60" fmla="*/ 2147483647 w 192"/>
                <a:gd name="T61" fmla="*/ 2147483647 h 158"/>
                <a:gd name="T62" fmla="*/ 2147483647 w 192"/>
                <a:gd name="T63" fmla="*/ 2147483647 h 158"/>
                <a:gd name="T64" fmla="*/ 2147483647 w 192"/>
                <a:gd name="T65" fmla="*/ 2147483647 h 158"/>
                <a:gd name="T66" fmla="*/ 2147483647 w 192"/>
                <a:gd name="T67" fmla="*/ 2147483647 h 158"/>
                <a:gd name="T68" fmla="*/ 2147483647 w 192"/>
                <a:gd name="T69" fmla="*/ 2147483647 h 158"/>
                <a:gd name="T70" fmla="*/ 2147483647 w 192"/>
                <a:gd name="T71" fmla="*/ 2147483647 h 158"/>
                <a:gd name="T72" fmla="*/ 2114422271 w 192"/>
                <a:gd name="T73" fmla="*/ 1262923894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84" name="Freeform 441"/>
            <p:cNvSpPr>
              <a:spLocks/>
            </p:cNvSpPr>
            <p:nvPr/>
          </p:nvSpPr>
          <p:spPr bwMode="auto">
            <a:xfrm>
              <a:off x="7943779" y="4709653"/>
              <a:ext cx="482444" cy="1074654"/>
            </a:xfrm>
            <a:custGeom>
              <a:avLst/>
              <a:gdLst>
                <a:gd name="T0" fmla="*/ 2147483647 w 884"/>
                <a:gd name="T1" fmla="*/ 2147483647 h 1818"/>
                <a:gd name="T2" fmla="*/ 2147483647 w 884"/>
                <a:gd name="T3" fmla="*/ 2147483647 h 1818"/>
                <a:gd name="T4" fmla="*/ 2147483647 w 884"/>
                <a:gd name="T5" fmla="*/ 2147483647 h 1818"/>
                <a:gd name="T6" fmla="*/ 2147483647 w 884"/>
                <a:gd name="T7" fmla="*/ 2147483647 h 1818"/>
                <a:gd name="T8" fmla="*/ 2147483647 w 884"/>
                <a:gd name="T9" fmla="*/ 2147483647 h 1818"/>
                <a:gd name="T10" fmla="*/ 2147483647 w 884"/>
                <a:gd name="T11" fmla="*/ 2147483647 h 1818"/>
                <a:gd name="T12" fmla="*/ 2147483647 w 884"/>
                <a:gd name="T13" fmla="*/ 2147483647 h 1818"/>
                <a:gd name="T14" fmla="*/ 2147483647 w 884"/>
                <a:gd name="T15" fmla="*/ 2147483647 h 1818"/>
                <a:gd name="T16" fmla="*/ 2147483647 w 884"/>
                <a:gd name="T17" fmla="*/ 2147483647 h 1818"/>
                <a:gd name="T18" fmla="*/ 2147483647 w 884"/>
                <a:gd name="T19" fmla="*/ 2147483647 h 1818"/>
                <a:gd name="T20" fmla="*/ 2147483647 w 884"/>
                <a:gd name="T21" fmla="*/ 2147483647 h 1818"/>
                <a:gd name="T22" fmla="*/ 2147483647 w 884"/>
                <a:gd name="T23" fmla="*/ 2065430014 h 1818"/>
                <a:gd name="T24" fmla="*/ 2147483647 w 884"/>
                <a:gd name="T25" fmla="*/ 2147483647 h 1818"/>
                <a:gd name="T26" fmla="*/ 2147483647 w 884"/>
                <a:gd name="T27" fmla="*/ 2147483647 h 1818"/>
                <a:gd name="T28" fmla="*/ 2147483647 w 884"/>
                <a:gd name="T29" fmla="*/ 1652414118 h 1818"/>
                <a:gd name="T30" fmla="*/ 2147483647 w 884"/>
                <a:gd name="T31" fmla="*/ 2147483647 h 1818"/>
                <a:gd name="T32" fmla="*/ 2147483647 w 884"/>
                <a:gd name="T33" fmla="*/ 2147483647 h 1818"/>
                <a:gd name="T34" fmla="*/ 2147483647 w 884"/>
                <a:gd name="T35" fmla="*/ 2147483647 h 1818"/>
                <a:gd name="T36" fmla="*/ 2147483647 w 884"/>
                <a:gd name="T37" fmla="*/ 2147483647 h 1818"/>
                <a:gd name="T38" fmla="*/ 2147483647 w 884"/>
                <a:gd name="T39" fmla="*/ 2147483647 h 1818"/>
                <a:gd name="T40" fmla="*/ 0 w 884"/>
                <a:gd name="T41" fmla="*/ 2147483647 h 1818"/>
                <a:gd name="T42" fmla="*/ 1950582216 w 884"/>
                <a:gd name="T43" fmla="*/ 2147483647 h 1818"/>
                <a:gd name="T44" fmla="*/ 2147483647 w 884"/>
                <a:gd name="T45" fmla="*/ 2147483647 h 1818"/>
                <a:gd name="T46" fmla="*/ 2147483647 w 884"/>
                <a:gd name="T47" fmla="*/ 2147483647 h 1818"/>
                <a:gd name="T48" fmla="*/ 2147483647 w 884"/>
                <a:gd name="T49" fmla="*/ 2147483647 h 1818"/>
                <a:gd name="T50" fmla="*/ 2147483647 w 884"/>
                <a:gd name="T51" fmla="*/ 2147483647 h 1818"/>
                <a:gd name="T52" fmla="*/ 2147483647 w 884"/>
                <a:gd name="T53" fmla="*/ 2147483647 h 1818"/>
                <a:gd name="T54" fmla="*/ 2147483647 w 884"/>
                <a:gd name="T55" fmla="*/ 2147483647 h 1818"/>
                <a:gd name="T56" fmla="*/ 2147483647 w 884"/>
                <a:gd name="T57" fmla="*/ 2147483647 h 1818"/>
                <a:gd name="T58" fmla="*/ 2147483647 w 884"/>
                <a:gd name="T59" fmla="*/ 2147483647 h 1818"/>
                <a:gd name="T60" fmla="*/ 2147483647 w 884"/>
                <a:gd name="T61" fmla="*/ 2147483647 h 1818"/>
                <a:gd name="T62" fmla="*/ 2147483647 w 884"/>
                <a:gd name="T63" fmla="*/ 2147483647 h 1818"/>
                <a:gd name="T64" fmla="*/ 2147483647 w 884"/>
                <a:gd name="T65" fmla="*/ 2147483647 h 1818"/>
                <a:gd name="T66" fmla="*/ 2147483647 w 884"/>
                <a:gd name="T67" fmla="*/ 2147483647 h 1818"/>
                <a:gd name="T68" fmla="*/ 2147483647 w 884"/>
                <a:gd name="T69" fmla="*/ 2147483647 h 1818"/>
                <a:gd name="T70" fmla="*/ 2147483647 w 884"/>
                <a:gd name="T71" fmla="*/ 2147483647 h 1818"/>
                <a:gd name="T72" fmla="*/ 2147483647 w 884"/>
                <a:gd name="T73" fmla="*/ 2147483647 h 1818"/>
                <a:gd name="T74" fmla="*/ 2147483647 w 884"/>
                <a:gd name="T75" fmla="*/ 2147483647 h 1818"/>
                <a:gd name="T76" fmla="*/ 2147483647 w 884"/>
                <a:gd name="T77" fmla="*/ 2147483647 h 1818"/>
                <a:gd name="T78" fmla="*/ 2147483647 w 884"/>
                <a:gd name="T79" fmla="*/ 2147483647 h 1818"/>
                <a:gd name="T80" fmla="*/ 2147483647 w 884"/>
                <a:gd name="T81" fmla="*/ 2147483647 h 1818"/>
                <a:gd name="T82" fmla="*/ 2147483647 w 884"/>
                <a:gd name="T83" fmla="*/ 2147483647 h 1818"/>
                <a:gd name="T84" fmla="*/ 2147483647 w 884"/>
                <a:gd name="T85" fmla="*/ 2147483647 h 1818"/>
                <a:gd name="T86" fmla="*/ 2147483647 w 884"/>
                <a:gd name="T87" fmla="*/ 2147483647 h 1818"/>
                <a:gd name="T88" fmla="*/ 2147483647 w 884"/>
                <a:gd name="T89" fmla="*/ 2147483647 h 1818"/>
                <a:gd name="T90" fmla="*/ 2147483647 w 884"/>
                <a:gd name="T91" fmla="*/ 2147483647 h 1818"/>
                <a:gd name="T92" fmla="*/ 2147483647 w 884"/>
                <a:gd name="T93" fmla="*/ 2147483647 h 1818"/>
                <a:gd name="T94" fmla="*/ 2147483647 w 884"/>
                <a:gd name="T95" fmla="*/ 2147483647 h 1818"/>
                <a:gd name="T96" fmla="*/ 2147483647 w 884"/>
                <a:gd name="T97" fmla="*/ 2147483647 h 1818"/>
                <a:gd name="T98" fmla="*/ 2147483647 w 884"/>
                <a:gd name="T99" fmla="*/ 2147483647 h 1818"/>
                <a:gd name="T100" fmla="*/ 2147483647 w 884"/>
                <a:gd name="T101" fmla="*/ 2147483647 h 1818"/>
                <a:gd name="T102" fmla="*/ 2147483647 w 884"/>
                <a:gd name="T103" fmla="*/ 2147483647 h 1818"/>
                <a:gd name="T104" fmla="*/ 2147483647 w 884"/>
                <a:gd name="T105" fmla="*/ 2147483647 h 1818"/>
                <a:gd name="T106" fmla="*/ 2147483647 w 884"/>
                <a:gd name="T107" fmla="*/ 2147483647 h 1818"/>
                <a:gd name="T108" fmla="*/ 2147483647 w 884"/>
                <a:gd name="T109" fmla="*/ 2147483647 h 1818"/>
                <a:gd name="T110" fmla="*/ 2147483647 w 884"/>
                <a:gd name="T111" fmla="*/ 2147483647 h 1818"/>
                <a:gd name="T112" fmla="*/ 2147483647 w 884"/>
                <a:gd name="T113" fmla="*/ 2147483647 h 1818"/>
                <a:gd name="T114" fmla="*/ 2147483647 w 884"/>
                <a:gd name="T115" fmla="*/ 2147483647 h 1818"/>
                <a:gd name="T116" fmla="*/ 2147483647 w 884"/>
                <a:gd name="T117" fmla="*/ 2147483647 h 1818"/>
                <a:gd name="T118" fmla="*/ 2147483647 w 884"/>
                <a:gd name="T119" fmla="*/ 214748364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chemeClr val="tx1">
                <a:lumMod val="95000"/>
              </a:schemeClr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85" name="Freeform 445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8444166" y="3912011"/>
              <a:ext cx="103666" cy="64528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1911003545 h 104"/>
                <a:gd name="T20" fmla="*/ 2147483647 w 186"/>
                <a:gd name="T21" fmla="*/ 1433252504 h 104"/>
                <a:gd name="T22" fmla="*/ 2147483647 w 186"/>
                <a:gd name="T23" fmla="*/ 716433909 h 104"/>
                <a:gd name="T24" fmla="*/ 2147483647 w 186"/>
                <a:gd name="T25" fmla="*/ 23868286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38682867 h 104"/>
                <a:gd name="T32" fmla="*/ 2147483647 w 186"/>
                <a:gd name="T33" fmla="*/ 477751041 h 104"/>
                <a:gd name="T34" fmla="*/ 2147483647 w 186"/>
                <a:gd name="T35" fmla="*/ 955502083 h 104"/>
                <a:gd name="T36" fmla="*/ 2147483647 w 186"/>
                <a:gd name="T37" fmla="*/ 1433252504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1211776954 w 186"/>
                <a:gd name="T47" fmla="*/ 2147483647 h 104"/>
                <a:gd name="T48" fmla="*/ 0 w 186"/>
                <a:gd name="T49" fmla="*/ 2147483647 h 104"/>
                <a:gd name="T50" fmla="*/ 1385109851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86" name="Freeform 450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7568987" y="3478237"/>
              <a:ext cx="374792" cy="591510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180954618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4FD1FF"/>
            </a:solidFill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87" name="Freeform 541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8246802" y="3704087"/>
              <a:ext cx="125596" cy="138018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1382321317 h 237"/>
                <a:gd name="T48" fmla="*/ 2147483647 w 226"/>
                <a:gd name="T49" fmla="*/ 395094287 h 237"/>
                <a:gd name="T50" fmla="*/ 2147483647 w 226"/>
                <a:gd name="T51" fmla="*/ 1184943348 h 237"/>
                <a:gd name="T52" fmla="*/ 2147483647 w 226"/>
                <a:gd name="T53" fmla="*/ 2147483647 h 237"/>
                <a:gd name="T54" fmla="*/ 1716228771 w 226"/>
                <a:gd name="T55" fmla="*/ 2147483647 h 237"/>
                <a:gd name="T56" fmla="*/ 514837455 w 226"/>
                <a:gd name="T57" fmla="*/ 2147483647 h 237"/>
                <a:gd name="T58" fmla="*/ 0 w 226"/>
                <a:gd name="T59" fmla="*/ 2147483647 h 237"/>
                <a:gd name="T60" fmla="*/ 514837455 w 226"/>
                <a:gd name="T61" fmla="*/ 2147483647 h 237"/>
                <a:gd name="T62" fmla="*/ 1716228771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rgbClr val="4F81BD">
                  <a:lumMod val="7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997196"/>
          </a:xfrm>
        </p:spPr>
        <p:txBody>
          <a:bodyPr/>
          <a:lstStyle/>
          <a:p>
            <a:r>
              <a:rPr lang="es-MX" sz="3600" dirty="0"/>
              <a:t>Dirección de Educación para el Desarrollo </a:t>
            </a:r>
            <a:br>
              <a:rPr lang="es-MX" sz="3600" dirty="0"/>
            </a:br>
            <a:r>
              <a:rPr lang="es-MX" sz="3600" dirty="0"/>
              <a:t>Cobertura geográfica acumulada por año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29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57289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334192" y="1258669"/>
            <a:ext cx="43731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 smtClean="0"/>
              <a:t>Capacitación</a:t>
            </a:r>
          </a:p>
          <a:p>
            <a:pPr algn="ctr"/>
            <a:r>
              <a:rPr lang="es-MX" sz="1400" dirty="0" smtClean="0"/>
              <a:t>(Diplomados, cursos y certificaciones)</a:t>
            </a:r>
            <a:endParaRPr lang="es-MX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4818060" y="2072695"/>
            <a:ext cx="2783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1600" b="1" dirty="0" smtClean="0"/>
              <a:t>Diseño de comunidades virtuales de aprendizaje</a:t>
            </a:r>
            <a:endParaRPr lang="es-MX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5868534" y="3355911"/>
            <a:ext cx="20996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1600" b="1" dirty="0" smtClean="0"/>
              <a:t>Investigación educativa</a:t>
            </a:r>
            <a:endParaRPr lang="es-MX" sz="16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5002601" y="4875124"/>
            <a:ext cx="29523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1600" b="1" dirty="0" smtClean="0"/>
              <a:t>Desarrollo de modelos educativos</a:t>
            </a:r>
            <a:endParaRPr lang="es-MX" sz="16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428454" y="5370582"/>
            <a:ext cx="14325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1600" b="1" dirty="0" smtClean="0"/>
              <a:t>Consultoría y asesoría educativa</a:t>
            </a:r>
            <a:endParaRPr lang="es-MX" sz="16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248073" y="4724400"/>
            <a:ext cx="29523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 smtClean="0"/>
              <a:t>Congresos, seminarios y webinar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955539" y="2067121"/>
            <a:ext cx="23878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600" b="1" dirty="0" smtClean="0"/>
              <a:t>Desarrollo de recursos educativos</a:t>
            </a:r>
            <a:endParaRPr lang="es-MX" sz="16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1524000" y="3334904"/>
            <a:ext cx="2133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600" b="1" dirty="0" smtClean="0"/>
              <a:t>Coordinación de diálogos globales</a:t>
            </a:r>
            <a:endParaRPr lang="es-MX" sz="16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3276600" y="2990671"/>
            <a:ext cx="25450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b="1" dirty="0" smtClean="0">
                <a:solidFill>
                  <a:schemeClr val="tx2"/>
                </a:solidFill>
              </a:rPr>
              <a:t>Dirección de Educación</a:t>
            </a:r>
          </a:p>
          <a:p>
            <a:pPr algn="ctr"/>
            <a:r>
              <a:rPr lang="es-MX" sz="2400" b="1" dirty="0" smtClean="0">
                <a:solidFill>
                  <a:schemeClr val="tx2"/>
                </a:solidFill>
              </a:rPr>
              <a:t>para el Desarrollo</a:t>
            </a:r>
            <a:endParaRPr lang="es-MX" sz="2400" b="1" dirty="0">
              <a:solidFill>
                <a:schemeClr val="tx2"/>
              </a:solidFill>
            </a:endParaRPr>
          </a:p>
        </p:txBody>
      </p:sp>
      <p:sp>
        <p:nvSpPr>
          <p:cNvPr id="64" name="Title 63"/>
          <p:cNvSpPr>
            <a:spLocks noGrp="1"/>
          </p:cNvSpPr>
          <p:nvPr>
            <p:ph type="title"/>
          </p:nvPr>
        </p:nvSpPr>
        <p:spPr>
          <a:xfrm>
            <a:off x="304800" y="229005"/>
            <a:ext cx="2639374" cy="1218795"/>
          </a:xfrm>
        </p:spPr>
        <p:txBody>
          <a:bodyPr/>
          <a:lstStyle/>
          <a:p>
            <a:r>
              <a:rPr lang="es-MX" sz="4400" dirty="0" smtClean="0"/>
              <a:t>Productos y </a:t>
            </a:r>
            <a:br>
              <a:rPr lang="es-MX" sz="4400" dirty="0" smtClean="0"/>
            </a:br>
            <a:r>
              <a:rPr lang="es-MX" sz="4400" dirty="0" smtClean="0"/>
              <a:t>servicios</a:t>
            </a:r>
            <a:endParaRPr lang="es-MX" sz="4400" dirty="0"/>
          </a:p>
        </p:txBody>
      </p:sp>
      <p:pic>
        <p:nvPicPr>
          <p:cNvPr id="80" name="Picture 2" descr="actores sociales clave 2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013564"/>
              </a:clrFrom>
              <a:clrTo>
                <a:srgbClr val="01356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1209" y="457200"/>
            <a:ext cx="1353345" cy="821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9969" y="1813696"/>
            <a:ext cx="1094336" cy="9295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2" name="Picture 81" descr="G:\UV\TERNIUM\Fotos\Octubre 2011\Fotos CQ y JE\DSC04752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44421" y="3276600"/>
            <a:ext cx="914391" cy="7402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83" name="Picture 1" descr="image001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6231" y="4726271"/>
            <a:ext cx="862969" cy="76012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 descr="Home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6608" y="4020978"/>
            <a:ext cx="517824" cy="39862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3078" name="Picture 6" descr="http://www.enna-europe.org/files/ennaws/news/1/264/logo_wbi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5154" y="3024674"/>
            <a:ext cx="693089" cy="26388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0827" y="1804779"/>
            <a:ext cx="947974" cy="8122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8" name="Picture 13" descr="21 oficinas mayo 08 copy.png"/>
          <p:cNvPicPr>
            <a:picLocks noChangeAspect="1"/>
          </p:cNvPicPr>
          <p:nvPr/>
        </p:nvPicPr>
        <p:blipFill>
          <a:blip r:embed="rId10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2399" y="3258704"/>
            <a:ext cx="1448978" cy="904098"/>
          </a:xfrm>
          <a:prstGeom prst="rect">
            <a:avLst/>
          </a:prstGeom>
        </p:spPr>
      </p:pic>
      <p:sp>
        <p:nvSpPr>
          <p:cNvPr id="81" name="Curved Up Arrow 80"/>
          <p:cNvSpPr/>
          <p:nvPr/>
        </p:nvSpPr>
        <p:spPr bwMode="auto">
          <a:xfrm>
            <a:off x="484826" y="3771332"/>
            <a:ext cx="533747" cy="228600"/>
          </a:xfrm>
          <a:prstGeom prst="curvedUp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s-MX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sp>
        <p:nvSpPr>
          <p:cNvPr id="90" name="Curved Up Arrow 89"/>
          <p:cNvSpPr/>
          <p:nvPr/>
        </p:nvSpPr>
        <p:spPr bwMode="auto">
          <a:xfrm flipH="1" flipV="1">
            <a:off x="456852" y="3411104"/>
            <a:ext cx="533747" cy="228600"/>
          </a:xfrm>
          <a:prstGeom prst="curvedUp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s-MX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092" y="5323429"/>
            <a:ext cx="2239963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3163" y="5486400"/>
            <a:ext cx="808037" cy="1127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3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74881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382000" cy="609398"/>
          </a:xfrm>
        </p:spPr>
        <p:txBody>
          <a:bodyPr/>
          <a:lstStyle/>
          <a:p>
            <a:r>
              <a:rPr lang="es-MX" sz="4400" dirty="0" smtClean="0"/>
              <a:t>Estadísticas  generales</a:t>
            </a:r>
            <a:endParaRPr lang="es-MX" sz="4400" dirty="0"/>
          </a:p>
        </p:txBody>
      </p:sp>
      <p:sp>
        <p:nvSpPr>
          <p:cNvPr id="5" name="TextBox 4"/>
          <p:cNvSpPr txBox="1"/>
          <p:nvPr/>
        </p:nvSpPr>
        <p:spPr>
          <a:xfrm>
            <a:off x="5257800" y="774680"/>
            <a:ext cx="373380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400" b="1" dirty="0"/>
              <a:t>Entre 1997 y 2012:</a:t>
            </a:r>
            <a:endParaRPr lang="es-MX" sz="2400" dirty="0"/>
          </a:p>
          <a:p>
            <a:pPr marL="342900" indent="-342900">
              <a:buFont typeface="Arial" pitchFamily="34" charset="0"/>
              <a:buChar char="•"/>
            </a:pPr>
            <a:r>
              <a:rPr lang="es-MX" sz="2200" b="1" dirty="0" smtClean="0"/>
              <a:t>Accesos a cursos gratuitos y consultas en comunidades de aprendizaje: </a:t>
            </a:r>
            <a:r>
              <a:rPr lang="es-MX" sz="2200" b="1" dirty="0" smtClean="0">
                <a:solidFill>
                  <a:srgbClr val="FFC000"/>
                </a:solidFill>
              </a:rPr>
              <a:t>566,205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sz="2200" b="1" dirty="0"/>
              <a:t>Atención a personas de </a:t>
            </a:r>
            <a:r>
              <a:rPr lang="es-MX" sz="2200" b="1" dirty="0">
                <a:solidFill>
                  <a:srgbClr val="FFC000"/>
                </a:solidFill>
              </a:rPr>
              <a:t>5 a 26 </a:t>
            </a:r>
            <a:r>
              <a:rPr lang="es-MX" sz="2200" b="1" dirty="0" smtClean="0">
                <a:solidFill>
                  <a:srgbClr val="FFC000"/>
                </a:solidFill>
              </a:rPr>
              <a:t>países en </a:t>
            </a:r>
            <a:r>
              <a:rPr lang="es-MX" sz="2200" b="1" dirty="0" smtClean="0"/>
              <a:t>México y Latinoamérica principalmente</a:t>
            </a:r>
            <a:endParaRPr lang="es-MX" sz="2200" b="1" dirty="0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692" y="1333778"/>
            <a:ext cx="4587515" cy="22981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3800" y="4267200"/>
            <a:ext cx="4394514" cy="23133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00" y="6280150"/>
            <a:ext cx="2133600" cy="365125"/>
          </a:xfrm>
        </p:spPr>
        <p:txBody>
          <a:bodyPr/>
          <a:lstStyle/>
          <a:p>
            <a:fld id="{DB09C58B-9000-45E6-ADB6-316584364E20}" type="slidenum">
              <a:rPr lang="es-MX" smtClean="0"/>
              <a:t>30</a:t>
            </a:fld>
            <a:endParaRPr lang="es-MX"/>
          </a:p>
        </p:txBody>
      </p:sp>
      <p:grpSp>
        <p:nvGrpSpPr>
          <p:cNvPr id="6" name="Group 5"/>
          <p:cNvGrpSpPr/>
          <p:nvPr/>
        </p:nvGrpSpPr>
        <p:grpSpPr>
          <a:xfrm>
            <a:off x="381000" y="4317230"/>
            <a:ext cx="3048000" cy="2213254"/>
            <a:chOff x="381000" y="4343400"/>
            <a:chExt cx="3048000" cy="2213254"/>
          </a:xfrm>
        </p:grpSpPr>
        <p:sp>
          <p:nvSpPr>
            <p:cNvPr id="9" name="TextBox 8"/>
            <p:cNvSpPr txBox="1"/>
            <p:nvPr/>
          </p:nvSpPr>
          <p:spPr>
            <a:xfrm>
              <a:off x="381000" y="4343400"/>
              <a:ext cx="304800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2400" b="1" dirty="0" smtClean="0"/>
                <a:t>A mayo 2012: </a:t>
              </a:r>
              <a:r>
                <a:rPr lang="es-MX" sz="2400" b="1" dirty="0" smtClean="0">
                  <a:solidFill>
                    <a:srgbClr val="FFC000"/>
                  </a:solidFill>
                </a:rPr>
                <a:t>14,052 </a:t>
              </a:r>
              <a:r>
                <a:rPr lang="es-MX" sz="2400" b="1" dirty="0" smtClean="0"/>
                <a:t>alumnos en cursos y diplomados con tutor</a:t>
              </a:r>
              <a:endParaRPr lang="es-MX" sz="2400" b="1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50445" y="5725657"/>
              <a:ext cx="2531948" cy="83099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2400" b="1" dirty="0"/>
                <a:t>Eficiencia terminal: </a:t>
              </a:r>
              <a:r>
                <a:rPr lang="es-MX" sz="2400" b="1" dirty="0">
                  <a:solidFill>
                    <a:srgbClr val="FFC000"/>
                  </a:solidFill>
                </a:rPr>
                <a:t>90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86294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1329595"/>
          </a:xfrm>
        </p:spPr>
        <p:txBody>
          <a:bodyPr/>
          <a:lstStyle/>
          <a:p>
            <a:r>
              <a:rPr lang="es-MX" dirty="0" smtClean="0"/>
              <a:t>Información para comercialización de los diplomados y los cursos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81000" y="1751538"/>
            <a:ext cx="8382000" cy="3721019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s-MX" sz="2400" dirty="0" smtClean="0"/>
              <a:t>Por e-</a:t>
            </a:r>
            <a:r>
              <a:rPr lang="es-MX" sz="2400" dirty="0" err="1" smtClean="0"/>
              <a:t>commerce</a:t>
            </a:r>
            <a:r>
              <a:rPr lang="es-MX" sz="2400" dirty="0" smtClean="0"/>
              <a:t> (costos, fechas y fichas técnicas) </a:t>
            </a:r>
          </a:p>
          <a:p>
            <a:pPr>
              <a:buFont typeface="Arial" pitchFamily="34" charset="0"/>
              <a:buChar char="•"/>
            </a:pPr>
            <a:r>
              <a:rPr lang="es-MX" sz="2400" dirty="0" smtClean="0"/>
              <a:t>Disponible directamente en:  </a:t>
            </a:r>
            <a:r>
              <a:rPr lang="es-MX" sz="2400" dirty="0">
                <a:hlinkClick r:id="rId2"/>
              </a:rPr>
              <a:t>https://</a:t>
            </a:r>
            <a:r>
              <a:rPr lang="es-MX" sz="2400" dirty="0" smtClean="0">
                <a:hlinkClick r:id="rId2"/>
              </a:rPr>
              <a:t>lmsnet.ruv.itesm.mx/comprasenlinea/CatalogoProductos.aspx?origen=1000</a:t>
            </a:r>
            <a:endParaRPr lang="es-MX" sz="2400" dirty="0" smtClean="0"/>
          </a:p>
          <a:p>
            <a:pPr>
              <a:buFont typeface="Arial" pitchFamily="34" charset="0"/>
              <a:buChar char="•"/>
            </a:pPr>
            <a:r>
              <a:rPr lang="es-MX" sz="2400" dirty="0"/>
              <a:t>Formas de </a:t>
            </a:r>
            <a:r>
              <a:rPr lang="es-MX" sz="2400" dirty="0" smtClean="0"/>
              <a:t>pago:</a:t>
            </a:r>
          </a:p>
          <a:p>
            <a:pPr lvl="1">
              <a:buFont typeface="Arial" pitchFamily="34" charset="0"/>
              <a:buChar char="•"/>
            </a:pPr>
            <a:r>
              <a:rPr lang="es-MX" sz="1800" dirty="0" smtClean="0"/>
              <a:t>Transferencia </a:t>
            </a:r>
            <a:r>
              <a:rPr lang="es-MX" sz="1800" dirty="0"/>
              <a:t>bancaria, </a:t>
            </a:r>
            <a:r>
              <a:rPr lang="es-MX" sz="1800" dirty="0" smtClean="0"/>
              <a:t>Depósito </a:t>
            </a:r>
            <a:r>
              <a:rPr lang="es-MX" sz="1800" dirty="0"/>
              <a:t>bancario, </a:t>
            </a:r>
            <a:r>
              <a:rPr lang="es-MX" sz="1800" dirty="0" smtClean="0"/>
              <a:t>TDC (Visa o </a:t>
            </a:r>
            <a:r>
              <a:rPr lang="es-MX" sz="1800" dirty="0" err="1"/>
              <a:t>M</a:t>
            </a:r>
            <a:r>
              <a:rPr lang="es-MX" sz="1800" dirty="0" err="1" smtClean="0"/>
              <a:t>astercard</a:t>
            </a:r>
            <a:r>
              <a:rPr lang="es-MX" sz="1800" dirty="0" smtClean="0"/>
              <a:t>)</a:t>
            </a:r>
          </a:p>
          <a:p>
            <a:pPr lvl="1">
              <a:buFont typeface="Arial" pitchFamily="34" charset="0"/>
              <a:buChar char="•"/>
            </a:pPr>
            <a:r>
              <a:rPr lang="es-MX" sz="1800" dirty="0" smtClean="0"/>
              <a:t>Promoción </a:t>
            </a:r>
            <a:r>
              <a:rPr lang="es-MX" sz="1800" dirty="0"/>
              <a:t>a 6 y12 meses sin intereses con tarjeta de crédito Banamex, BBVA Bancomer y Santander (aplica para tarjetas expedidas en México) (promoción aplicable según el costo del curso o diplomado)</a:t>
            </a:r>
          </a:p>
          <a:p>
            <a:pPr lvl="1">
              <a:buFont typeface="Arial" pitchFamily="34" charset="0"/>
              <a:buChar char="•"/>
            </a:pPr>
            <a:r>
              <a:rPr lang="es-MX" sz="1800" dirty="0" smtClean="0"/>
              <a:t>Promoción </a:t>
            </a:r>
            <a:r>
              <a:rPr lang="es-MX" sz="1800" dirty="0"/>
              <a:t>a 6 y 12 meses sin intereses con tarjeta de crédito American Express (aplica para tarjetas expedidas en México) (promoción aplicable según el costo del curso o diplomado) </a:t>
            </a:r>
            <a:endParaRPr lang="es-MX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31</a:t>
            </a:fld>
            <a:endParaRPr lang="es-MX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28800" y="5503037"/>
            <a:ext cx="5353334" cy="1278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3963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Oferta educativa: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412875"/>
            <a:ext cx="8382000" cy="3016210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endParaRPr lang="es-MX" dirty="0" smtClean="0"/>
          </a:p>
          <a:p>
            <a:pPr>
              <a:buFont typeface="Arial" pitchFamily="34" charset="0"/>
              <a:buChar char="•"/>
            </a:pPr>
            <a:r>
              <a:rPr lang="es-MX" dirty="0" smtClean="0"/>
              <a:t>Becas </a:t>
            </a:r>
            <a:r>
              <a:rPr lang="es-MX" dirty="0"/>
              <a:t>(según diplomado)</a:t>
            </a:r>
          </a:p>
          <a:p>
            <a:pPr>
              <a:buFont typeface="Arial" pitchFamily="34" charset="0"/>
              <a:buChar char="•"/>
            </a:pPr>
            <a:r>
              <a:rPr lang="es-MX" dirty="0"/>
              <a:t>Becas especiales (no acumulables):</a:t>
            </a:r>
          </a:p>
          <a:p>
            <a:pPr lvl="1">
              <a:buFont typeface="Arial" pitchFamily="34" charset="0"/>
              <a:buChar char="•"/>
            </a:pPr>
            <a:r>
              <a:rPr lang="es-MX" dirty="0"/>
              <a:t>Pronto pago (10%)</a:t>
            </a:r>
          </a:p>
          <a:p>
            <a:pPr lvl="1">
              <a:buFont typeface="Arial" pitchFamily="34" charset="0"/>
              <a:buChar char="•"/>
            </a:pPr>
            <a:r>
              <a:rPr lang="es-MX" dirty="0" err="1"/>
              <a:t>ExATecs</a:t>
            </a:r>
            <a:r>
              <a:rPr lang="es-MX" dirty="0"/>
              <a:t> (10%)</a:t>
            </a:r>
          </a:p>
          <a:p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3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58973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966345378"/>
              </p:ext>
            </p:extLst>
          </p:nvPr>
        </p:nvGraphicFramePr>
        <p:xfrm>
          <a:off x="1524000" y="1683494"/>
          <a:ext cx="6096000" cy="375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600200" y="914400"/>
            <a:ext cx="5943600" cy="523220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s de 10,200 horas en línea</a:t>
            </a:r>
            <a:endParaRPr lang="es-MX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Title 7"/>
          <p:cNvSpPr>
            <a:spLocks noGrp="1"/>
          </p:cNvSpPr>
          <p:nvPr>
            <p:ph type="title"/>
          </p:nvPr>
        </p:nvSpPr>
        <p:spPr>
          <a:xfrm>
            <a:off x="228600" y="76200"/>
            <a:ext cx="8382000" cy="609398"/>
          </a:xfrm>
        </p:spPr>
        <p:txBody>
          <a:bodyPr/>
          <a:lstStyle/>
          <a:p>
            <a:r>
              <a:rPr lang="es-MX" sz="4400" dirty="0" smtClean="0"/>
              <a:t>Oferta general</a:t>
            </a:r>
            <a:endParaRPr lang="es-MX" sz="4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33</a:t>
            </a:fld>
            <a:endParaRPr lang="es-MX" dirty="0"/>
          </a:p>
        </p:txBody>
      </p:sp>
      <p:sp>
        <p:nvSpPr>
          <p:cNvPr id="8" name="TextBox 7"/>
          <p:cNvSpPr txBox="1"/>
          <p:nvPr/>
        </p:nvSpPr>
        <p:spPr>
          <a:xfrm>
            <a:off x="1600200" y="5569694"/>
            <a:ext cx="5943600" cy="1200329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MX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erta en </a:t>
            </a:r>
            <a:r>
              <a:rPr lang="es-MX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3 (en e-</a:t>
            </a:r>
            <a:r>
              <a:rPr lang="es-MX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merce</a:t>
            </a:r>
            <a:r>
              <a:rPr lang="es-MX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: </a:t>
            </a:r>
          </a:p>
          <a:p>
            <a:pPr algn="ctr"/>
            <a:r>
              <a:rPr lang="es-MX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1 </a:t>
            </a:r>
            <a:r>
              <a:rPr lang="es-MX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plomados, 1 seminario, 3 </a:t>
            </a:r>
            <a:r>
              <a:rPr lang="es-MX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sos </a:t>
            </a:r>
          </a:p>
          <a:p>
            <a:pPr algn="ctr"/>
            <a:r>
              <a:rPr lang="es-MX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varias fechas de apertura)</a:t>
            </a:r>
            <a:endParaRPr lang="es-MX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6437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ntacto para más informació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1000" y="1066800"/>
            <a:ext cx="8382000" cy="5207579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s-MX" sz="2400" spc="-150" dirty="0">
                <a:ln w="3175">
                  <a:noFill/>
                </a:ln>
                <a:gradFill flip="none" rotWithShape="1">
                  <a:gsLst>
                    <a:gs pos="0">
                      <a:srgbClr val="FFFFB9"/>
                    </a:gs>
                    <a:gs pos="36000">
                      <a:srgbClr val="FFFF99"/>
                    </a:gs>
                    <a:gs pos="86000">
                      <a:srgbClr val="F6AE1E"/>
                    </a:gs>
                  </a:gsLst>
                  <a:lin ang="5400000" scaled="0"/>
                  <a:tileRect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rPr>
              <a:t>Dra. Laura Ruiz Pérez</a:t>
            </a:r>
          </a:p>
          <a:p>
            <a:pPr marL="517525" lvl="1" indent="0">
              <a:buNone/>
            </a:pPr>
            <a:r>
              <a:rPr lang="es-MX" sz="2000" dirty="0"/>
              <a:t>Directora de Educación para el Desarrollo</a:t>
            </a:r>
          </a:p>
          <a:p>
            <a:pPr marL="517525" lvl="1" indent="0">
              <a:buNone/>
            </a:pPr>
            <a:r>
              <a:rPr lang="es-MX" sz="2000" dirty="0"/>
              <a:t>Universidad </a:t>
            </a:r>
            <a:r>
              <a:rPr lang="es-MX" sz="2000" dirty="0" err="1"/>
              <a:t>TecVirtual</a:t>
            </a:r>
            <a:r>
              <a:rPr lang="es-MX" sz="2000" dirty="0"/>
              <a:t> del Sistema Tecnológico de Monterrey</a:t>
            </a:r>
          </a:p>
          <a:p>
            <a:pPr marL="517525" lvl="1" indent="0">
              <a:buNone/>
            </a:pPr>
            <a:r>
              <a:rPr lang="es-MX" sz="2000" dirty="0"/>
              <a:t>laruiz@tecvirtual.mx </a:t>
            </a:r>
          </a:p>
          <a:p>
            <a:pPr>
              <a:buFont typeface="Arial" pitchFamily="34" charset="0"/>
              <a:buChar char="•"/>
            </a:pPr>
            <a:endParaRPr lang="es-MX" sz="2400" spc="-150" dirty="0" smtClean="0">
              <a:ln w="3175">
                <a:noFill/>
              </a:ln>
              <a:gradFill flip="none" rotWithShape="1">
                <a:gsLst>
                  <a:gs pos="0">
                    <a:srgbClr val="FFFFB9"/>
                  </a:gs>
                  <a:gs pos="36000">
                    <a:srgbClr val="FFFF99"/>
                  </a:gs>
                  <a:gs pos="86000">
                    <a:srgbClr val="F6AE1E"/>
                  </a:gs>
                </a:gsLst>
                <a:lin ang="5400000" scaled="0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Arial" charset="0"/>
            </a:endParaRPr>
          </a:p>
          <a:p>
            <a:pPr>
              <a:buFont typeface="Arial" pitchFamily="34" charset="0"/>
              <a:buChar char="•"/>
            </a:pPr>
            <a:r>
              <a:rPr lang="es-MX" sz="2400" spc="-150" dirty="0" smtClean="0">
                <a:ln w="3175">
                  <a:noFill/>
                </a:ln>
                <a:gradFill flip="none" rotWithShape="1">
                  <a:gsLst>
                    <a:gs pos="0">
                      <a:srgbClr val="FFFFB9"/>
                    </a:gs>
                    <a:gs pos="36000">
                      <a:srgbClr val="FFFF99"/>
                    </a:gs>
                    <a:gs pos="86000">
                      <a:srgbClr val="F6AE1E"/>
                    </a:gs>
                  </a:gsLst>
                  <a:lin ang="5400000" scaled="0"/>
                  <a:tileRect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rPr>
              <a:t>Lic</a:t>
            </a:r>
            <a:r>
              <a:rPr lang="es-MX" sz="2400" spc="-150" dirty="0">
                <a:ln w="3175">
                  <a:noFill/>
                </a:ln>
                <a:gradFill flip="none" rotWithShape="1">
                  <a:gsLst>
                    <a:gs pos="0">
                      <a:srgbClr val="FFFFB9"/>
                    </a:gs>
                    <a:gs pos="36000">
                      <a:srgbClr val="FFFF99"/>
                    </a:gs>
                    <a:gs pos="86000">
                      <a:srgbClr val="F6AE1E"/>
                    </a:gs>
                  </a:gsLst>
                  <a:lin ang="5400000" scaled="0"/>
                  <a:tileRect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rPr>
              <a:t>. Sergio López León </a:t>
            </a:r>
          </a:p>
          <a:p>
            <a:pPr marL="517525" lvl="1" indent="0">
              <a:buNone/>
            </a:pPr>
            <a:r>
              <a:rPr lang="es-MX" sz="1600" dirty="0" smtClean="0"/>
              <a:t>Coordinador </a:t>
            </a:r>
            <a:r>
              <a:rPr lang="es-MX" sz="1600" dirty="0"/>
              <a:t>de Relaciones Públicas y Mercadotecnia</a:t>
            </a:r>
          </a:p>
          <a:p>
            <a:pPr marL="517525" lvl="1" indent="0">
              <a:buNone/>
            </a:pPr>
            <a:r>
              <a:rPr lang="es-MX" sz="1600" dirty="0"/>
              <a:t>Dirección de Educación para el Desarrollo</a:t>
            </a:r>
          </a:p>
          <a:p>
            <a:pPr marL="517525" lvl="1" indent="0">
              <a:buNone/>
            </a:pPr>
            <a:r>
              <a:rPr lang="es-MX" sz="1600" dirty="0"/>
              <a:t>Universidad </a:t>
            </a:r>
            <a:r>
              <a:rPr lang="es-MX" sz="1600" dirty="0" err="1"/>
              <a:t>TecVirtual</a:t>
            </a:r>
            <a:r>
              <a:rPr lang="es-MX" sz="1600" dirty="0"/>
              <a:t> del Sistema Tecnológico de Monterrey</a:t>
            </a:r>
          </a:p>
          <a:p>
            <a:pPr marL="517525" lvl="1" indent="0">
              <a:buNone/>
            </a:pPr>
            <a:r>
              <a:rPr lang="es-MX" sz="1600" dirty="0"/>
              <a:t>slopez@tecvirtual.mx </a:t>
            </a:r>
          </a:p>
          <a:p>
            <a:endParaRPr lang="es-MX" sz="2000" dirty="0"/>
          </a:p>
          <a:p>
            <a:pPr>
              <a:buFont typeface="Arial" pitchFamily="34" charset="0"/>
              <a:buChar char="•"/>
            </a:pPr>
            <a:r>
              <a:rPr lang="es-MX" sz="2000" dirty="0"/>
              <a:t>Teléfono </a:t>
            </a:r>
            <a:r>
              <a:rPr lang="es-MX" sz="2000" dirty="0" err="1"/>
              <a:t>intercampus</a:t>
            </a:r>
            <a:r>
              <a:rPr lang="es-MX" sz="2000" dirty="0"/>
              <a:t> 88 888 1762</a:t>
            </a:r>
          </a:p>
          <a:p>
            <a:pPr>
              <a:buFont typeface="Arial" pitchFamily="34" charset="0"/>
              <a:buChar char="•"/>
            </a:pPr>
            <a:endParaRPr lang="es-MX" sz="2000" dirty="0"/>
          </a:p>
          <a:p>
            <a:pPr>
              <a:buFont typeface="Arial" pitchFamily="34" charset="0"/>
              <a:buChar char="•"/>
            </a:pPr>
            <a:r>
              <a:rPr lang="es-MX" sz="2000" dirty="0"/>
              <a:t>Teléfono sin costo: 01-800-288-9017</a:t>
            </a:r>
          </a:p>
          <a:p>
            <a:endParaRPr lang="es-MX" sz="1800" dirty="0"/>
          </a:p>
          <a:p>
            <a:endParaRPr lang="es-MX" sz="1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34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90788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ntacto </a:t>
            </a:r>
            <a:r>
              <a:rPr lang="es-MX" dirty="0" smtClean="0"/>
              <a:t>por áreas</a:t>
            </a:r>
            <a:endParaRPr lang="es-MX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1000" y="1066800"/>
            <a:ext cx="8382000" cy="5623078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s-MX" sz="1800" i="1" dirty="0" smtClean="0"/>
              <a:t>Profesores y directivos</a:t>
            </a:r>
            <a:r>
              <a:rPr lang="es-MX" sz="1800" dirty="0" smtClean="0"/>
              <a:t>:</a:t>
            </a:r>
            <a:endParaRPr lang="es-MX" sz="1800" dirty="0"/>
          </a:p>
          <a:p>
            <a:pPr marL="517525" lvl="1" indent="0">
              <a:buNone/>
            </a:pPr>
            <a:r>
              <a:rPr lang="es-MX" sz="1800" dirty="0" smtClean="0"/>
              <a:t>Ing</a:t>
            </a:r>
            <a:r>
              <a:rPr lang="es-MX" sz="1800" dirty="0"/>
              <a:t>. Karina </a:t>
            </a:r>
            <a:r>
              <a:rPr lang="es-MX" sz="1800" dirty="0" smtClean="0"/>
              <a:t>Martínez Argüello</a:t>
            </a:r>
          </a:p>
          <a:p>
            <a:pPr marL="517525" lvl="1" indent="0">
              <a:buNone/>
            </a:pPr>
            <a:r>
              <a:rPr lang="es-MX" sz="1800" dirty="0" smtClean="0">
                <a:hlinkClick r:id="rId2"/>
              </a:rPr>
              <a:t>kmartin@tecvirtual.mx</a:t>
            </a:r>
            <a:endParaRPr lang="es-MX" sz="1800" dirty="0"/>
          </a:p>
          <a:p>
            <a:pPr>
              <a:buFont typeface="Arial" pitchFamily="34" charset="0"/>
              <a:buChar char="•"/>
            </a:pPr>
            <a:endParaRPr lang="es-MX" sz="1800" i="1" dirty="0" smtClean="0"/>
          </a:p>
          <a:p>
            <a:pPr>
              <a:buFont typeface="Arial" pitchFamily="34" charset="0"/>
              <a:buChar char="•"/>
            </a:pPr>
            <a:r>
              <a:rPr lang="es-MX" sz="1800" i="1" dirty="0" smtClean="0"/>
              <a:t>Funcionarios públicos:</a:t>
            </a:r>
            <a:endParaRPr lang="es-MX" sz="1800" i="1" dirty="0"/>
          </a:p>
          <a:p>
            <a:pPr marL="517525" lvl="1" indent="0">
              <a:buNone/>
            </a:pPr>
            <a:r>
              <a:rPr lang="es-MX" sz="1800" dirty="0" smtClean="0"/>
              <a:t>Dra</a:t>
            </a:r>
            <a:r>
              <a:rPr lang="es-MX" sz="1800" dirty="0"/>
              <a:t>. Marcia </a:t>
            </a:r>
            <a:r>
              <a:rPr lang="es-MX" sz="1800" dirty="0" smtClean="0"/>
              <a:t>Villasana Campos</a:t>
            </a:r>
            <a:endParaRPr lang="es-MX" sz="1800" dirty="0"/>
          </a:p>
          <a:p>
            <a:pPr marL="517525" lvl="1" indent="0">
              <a:buNone/>
            </a:pPr>
            <a:r>
              <a:rPr lang="es-MX" sz="1800" dirty="0" smtClean="0">
                <a:hlinkClick r:id="rId3"/>
              </a:rPr>
              <a:t>marciavillasana@tecvirtual.mx</a:t>
            </a:r>
            <a:r>
              <a:rPr lang="es-MX" sz="1800" dirty="0" smtClean="0"/>
              <a:t> </a:t>
            </a:r>
            <a:endParaRPr lang="es-MX" sz="1800" dirty="0"/>
          </a:p>
          <a:p>
            <a:pPr>
              <a:buFont typeface="Arial" pitchFamily="34" charset="0"/>
              <a:buChar char="•"/>
            </a:pPr>
            <a:endParaRPr lang="es-MX" sz="1800" i="1" dirty="0" smtClean="0"/>
          </a:p>
          <a:p>
            <a:pPr>
              <a:buFont typeface="Arial" pitchFamily="34" charset="0"/>
              <a:buChar char="•"/>
            </a:pPr>
            <a:r>
              <a:rPr lang="es-MX" sz="1800" i="1" dirty="0" smtClean="0"/>
              <a:t>Empresas</a:t>
            </a:r>
            <a:r>
              <a:rPr lang="es-MX" sz="1800" dirty="0" smtClean="0"/>
              <a:t>:</a:t>
            </a:r>
            <a:endParaRPr lang="es-MX" sz="1800" dirty="0"/>
          </a:p>
          <a:p>
            <a:pPr marL="517525" lvl="1" indent="0">
              <a:buNone/>
            </a:pPr>
            <a:r>
              <a:rPr lang="es-MX" sz="1800" dirty="0"/>
              <a:t>Lic. Cosette </a:t>
            </a:r>
            <a:r>
              <a:rPr lang="es-MX" sz="1800" dirty="0" smtClean="0"/>
              <a:t>Oropeza Licona </a:t>
            </a:r>
            <a:r>
              <a:rPr lang="es-MX" sz="1800" dirty="0"/>
              <a:t/>
            </a:r>
            <a:br>
              <a:rPr lang="es-MX" sz="1800" dirty="0"/>
            </a:br>
            <a:r>
              <a:rPr lang="es-MX" sz="1800" dirty="0">
                <a:hlinkClick r:id="rId4"/>
              </a:rPr>
              <a:t>cosette@tecvirtual.mx</a:t>
            </a:r>
            <a:endParaRPr lang="es-MX" sz="1800" dirty="0"/>
          </a:p>
          <a:p>
            <a:pPr>
              <a:buFont typeface="Arial" pitchFamily="34" charset="0"/>
              <a:buChar char="•"/>
            </a:pPr>
            <a:endParaRPr lang="es-MX" sz="1800" i="1" dirty="0" smtClean="0"/>
          </a:p>
          <a:p>
            <a:pPr>
              <a:buFont typeface="Arial" pitchFamily="34" charset="0"/>
              <a:buChar char="•"/>
            </a:pPr>
            <a:r>
              <a:rPr lang="es-MX" sz="1800" i="1" dirty="0" smtClean="0"/>
              <a:t>Organizaciones de la sociedad civil y Periodistas:</a:t>
            </a:r>
            <a:endParaRPr lang="es-MX" sz="1800" i="1" dirty="0"/>
          </a:p>
          <a:p>
            <a:pPr marL="517525" lvl="1" indent="0">
              <a:buNone/>
            </a:pPr>
            <a:r>
              <a:rPr lang="es-MX" sz="1800" dirty="0" smtClean="0"/>
              <a:t>Ing</a:t>
            </a:r>
            <a:r>
              <a:rPr lang="es-MX" sz="1800" dirty="0"/>
              <a:t>. María Isabel </a:t>
            </a:r>
            <a:r>
              <a:rPr lang="es-MX" sz="1800" dirty="0" smtClean="0"/>
              <a:t>Cabrera Cancino</a:t>
            </a:r>
            <a:r>
              <a:rPr lang="es-MX" sz="1800" dirty="0"/>
              <a:t/>
            </a:r>
            <a:br>
              <a:rPr lang="es-MX" sz="1800" dirty="0"/>
            </a:br>
            <a:r>
              <a:rPr lang="es-MX" sz="1800" dirty="0">
                <a:hlinkClick r:id="rId5"/>
              </a:rPr>
              <a:t>marisa.cabrera@tecvirtual.mx</a:t>
            </a:r>
            <a:endParaRPr lang="es-MX" sz="1800" dirty="0"/>
          </a:p>
          <a:p>
            <a:pPr>
              <a:buFont typeface="Arial" pitchFamily="34" charset="0"/>
              <a:buChar char="•"/>
            </a:pPr>
            <a:endParaRPr lang="es-MX" sz="1800" i="1" dirty="0" smtClean="0"/>
          </a:p>
          <a:p>
            <a:pPr>
              <a:buFont typeface="Arial" pitchFamily="34" charset="0"/>
              <a:buChar char="•"/>
            </a:pPr>
            <a:r>
              <a:rPr lang="es-MX" sz="1800" i="1" dirty="0" smtClean="0"/>
              <a:t>Sociedad en general:</a:t>
            </a:r>
            <a:endParaRPr lang="es-MX" sz="1800" i="1" dirty="0"/>
          </a:p>
          <a:p>
            <a:pPr marL="517525" lvl="1" indent="0">
              <a:buNone/>
            </a:pPr>
            <a:r>
              <a:rPr lang="es-MX" sz="1800" dirty="0" smtClean="0"/>
              <a:t>Dra. Claudia Salinas Garza </a:t>
            </a:r>
          </a:p>
          <a:p>
            <a:pPr marL="517525" lvl="1" indent="0">
              <a:buNone/>
            </a:pPr>
            <a:r>
              <a:rPr lang="es-MX" sz="1800" dirty="0" smtClean="0">
                <a:hlinkClick r:id="rId6"/>
              </a:rPr>
              <a:t>claudia.salinas@tecvirtual.mx</a:t>
            </a:r>
            <a:r>
              <a:rPr lang="es-MX" sz="1800" dirty="0" smtClean="0"/>
              <a:t> </a:t>
            </a:r>
            <a:endParaRPr lang="es-MX" sz="1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35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1861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ed Rectangle 43"/>
          <p:cNvSpPr/>
          <p:nvPr/>
        </p:nvSpPr>
        <p:spPr>
          <a:xfrm>
            <a:off x="1445768" y="582065"/>
            <a:ext cx="6798640" cy="6170439"/>
          </a:xfrm>
          <a:prstGeom prst="roundRect">
            <a:avLst>
              <a:gd name="adj" fmla="val 5369"/>
            </a:avLst>
          </a:prstGeom>
          <a:solidFill>
            <a:schemeClr val="bg1">
              <a:lumMod val="5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782" tIns="38391" rIns="76782" bIns="38391" rtlCol="0" anchor="ctr"/>
          <a:lstStyle/>
          <a:p>
            <a:pPr algn="ctr"/>
            <a:endParaRPr lang="es-MX">
              <a:solidFill>
                <a:prstClr val="white"/>
              </a:solidFill>
            </a:endParaRPr>
          </a:p>
        </p:txBody>
      </p:sp>
      <p:sp>
        <p:nvSpPr>
          <p:cNvPr id="45" name="Rounded Rectangle 44"/>
          <p:cNvSpPr/>
          <p:nvPr/>
        </p:nvSpPr>
        <p:spPr>
          <a:xfrm>
            <a:off x="1543150" y="5168695"/>
            <a:ext cx="6524535" cy="1511818"/>
          </a:xfrm>
          <a:prstGeom prst="roundRect">
            <a:avLst>
              <a:gd name="adj" fmla="val 15400"/>
            </a:avLst>
          </a:prstGeom>
          <a:solidFill>
            <a:schemeClr val="tx1">
              <a:lumMod val="50000"/>
              <a:lumOff val="50000"/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782" tIns="38391" rIns="76782" bIns="38391" rtlCol="0" anchor="ctr"/>
          <a:lstStyle/>
          <a:p>
            <a:pPr algn="ctr"/>
            <a:endParaRPr lang="es-MX">
              <a:solidFill>
                <a:prstClr val="white"/>
              </a:solidFill>
            </a:endParaRPr>
          </a:p>
        </p:txBody>
      </p:sp>
      <p:sp>
        <p:nvSpPr>
          <p:cNvPr id="48" name="Rounded Rectangle 47"/>
          <p:cNvSpPr/>
          <p:nvPr/>
        </p:nvSpPr>
        <p:spPr bwMode="auto">
          <a:xfrm rot="5400000">
            <a:off x="2915211" y="57129"/>
            <a:ext cx="3625938" cy="6370060"/>
          </a:xfrm>
          <a:prstGeom prst="roundRect">
            <a:avLst>
              <a:gd name="adj" fmla="val 9226"/>
            </a:avLst>
          </a:prstGeom>
          <a:solidFill>
            <a:srgbClr val="C8A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6782" tIns="38391" rIns="76782" bIns="38391"/>
          <a:lstStyle/>
          <a:p>
            <a:pPr>
              <a:defRPr/>
            </a:pPr>
            <a:endParaRPr lang="es-MX">
              <a:solidFill>
                <a:prstClr val="black"/>
              </a:solidFill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1705126" y="6224290"/>
            <a:ext cx="6281066" cy="384232"/>
          </a:xfrm>
          <a:prstGeom prst="roundRect">
            <a:avLst>
              <a:gd name="adj" fmla="val 36494"/>
            </a:avLst>
          </a:prstGeom>
          <a:solidFill>
            <a:srgbClr val="FF2525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76782" tIns="38391" rIns="76782" bIns="38391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MX" sz="1300" b="1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734654" y="6275431"/>
            <a:ext cx="6032877" cy="282268"/>
          </a:xfrm>
          <a:prstGeom prst="rect">
            <a:avLst/>
          </a:prstGeom>
          <a:noFill/>
        </p:spPr>
        <p:txBody>
          <a:bodyPr wrap="square" lIns="76782" tIns="38391" rIns="76782" bIns="38391" rtlCol="0">
            <a:spAutoFit/>
          </a:bodyPr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r>
              <a:rPr lang="es-MX" sz="17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taforma Tecnológica</a:t>
            </a:r>
            <a:endParaRPr lang="es-MX" sz="17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98" name="Straight Connector 97"/>
          <p:cNvCxnSpPr/>
          <p:nvPr/>
        </p:nvCxnSpPr>
        <p:spPr bwMode="auto">
          <a:xfrm>
            <a:off x="4028309" y="1177110"/>
            <a:ext cx="0" cy="130298"/>
          </a:xfrm>
          <a:prstGeom prst="line">
            <a:avLst/>
          </a:prstGeom>
          <a:noFill/>
          <a:ln w="38100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99" name="Straight Connector 98"/>
          <p:cNvCxnSpPr/>
          <p:nvPr/>
        </p:nvCxnSpPr>
        <p:spPr bwMode="auto">
          <a:xfrm>
            <a:off x="2826060" y="1304397"/>
            <a:ext cx="3712796" cy="14730"/>
          </a:xfrm>
          <a:prstGeom prst="line">
            <a:avLst/>
          </a:prstGeom>
          <a:noFill/>
          <a:ln w="38100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3" name="Group 2"/>
          <p:cNvGrpSpPr/>
          <p:nvPr/>
        </p:nvGrpSpPr>
        <p:grpSpPr>
          <a:xfrm>
            <a:off x="1696952" y="5213148"/>
            <a:ext cx="6331432" cy="971775"/>
            <a:chOff x="2263193" y="5214355"/>
            <a:chExt cx="7765740" cy="972000"/>
          </a:xfrm>
        </p:grpSpPr>
        <p:sp>
          <p:nvSpPr>
            <p:cNvPr id="46" name="Round Same Side Corner Rectangle 45"/>
            <p:cNvSpPr/>
            <p:nvPr/>
          </p:nvSpPr>
          <p:spPr bwMode="auto">
            <a:xfrm rot="5400000">
              <a:off x="5634626" y="1842922"/>
              <a:ext cx="972000" cy="7714865"/>
            </a:xfrm>
            <a:prstGeom prst="round2SameRect">
              <a:avLst>
                <a:gd name="adj1" fmla="val 35265"/>
                <a:gd name="adj2" fmla="val 26726"/>
              </a:avLst>
            </a:prstGeom>
            <a:solidFill>
              <a:schemeClr val="accent3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MX">
                <a:solidFill>
                  <a:prstClr val="black"/>
                </a:solidFill>
              </a:endParaRPr>
            </a:p>
          </p:txBody>
        </p:sp>
        <p:sp>
          <p:nvSpPr>
            <p:cNvPr id="50" name="Rounded Rectangle 49"/>
            <p:cNvSpPr/>
            <p:nvPr/>
          </p:nvSpPr>
          <p:spPr>
            <a:xfrm>
              <a:off x="2454494" y="5255612"/>
              <a:ext cx="1520028" cy="358061"/>
            </a:xfrm>
            <a:prstGeom prst="roundRect">
              <a:avLst>
                <a:gd name="adj" fmla="val 29968"/>
              </a:avLst>
            </a:prstGeom>
            <a:solidFill>
              <a:srgbClr val="83A343"/>
            </a:solidFill>
            <a:effectLst>
              <a:outerShdw blurRad="50800" dist="38100" dir="2700000" algn="tl" rotWithShape="0">
                <a:prstClr val="black">
                  <a:alpha val="66000"/>
                </a:prst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3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1" name="Rounded Rectangle 50"/>
            <p:cNvSpPr/>
            <p:nvPr/>
          </p:nvSpPr>
          <p:spPr>
            <a:xfrm>
              <a:off x="4066432" y="5268253"/>
              <a:ext cx="1581891" cy="358061"/>
            </a:xfrm>
            <a:prstGeom prst="roundRect">
              <a:avLst>
                <a:gd name="adj" fmla="val 29968"/>
              </a:avLst>
            </a:prstGeom>
            <a:solidFill>
              <a:srgbClr val="83A343"/>
            </a:solidFill>
            <a:effectLst>
              <a:outerShdw blurRad="50800" dist="38100" dir="2700000" algn="tl" rotWithShape="0">
                <a:prstClr val="black">
                  <a:alpha val="66000"/>
                </a:prst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3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2" name="Rounded Rectangle 51"/>
            <p:cNvSpPr/>
            <p:nvPr/>
          </p:nvSpPr>
          <p:spPr>
            <a:xfrm>
              <a:off x="5824537" y="5259382"/>
              <a:ext cx="1055869" cy="358061"/>
            </a:xfrm>
            <a:prstGeom prst="roundRect">
              <a:avLst>
                <a:gd name="adj" fmla="val 29968"/>
              </a:avLst>
            </a:prstGeom>
            <a:solidFill>
              <a:srgbClr val="83A343"/>
            </a:solidFill>
            <a:effectLst>
              <a:outerShdw blurRad="50800" dist="38100" dir="2700000" algn="tl" rotWithShape="0">
                <a:prstClr val="black">
                  <a:alpha val="66000"/>
                </a:prst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3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6977721" y="5268123"/>
              <a:ext cx="1378210" cy="358061"/>
            </a:xfrm>
            <a:prstGeom prst="roundRect">
              <a:avLst>
                <a:gd name="adj" fmla="val 29968"/>
              </a:avLst>
            </a:prstGeom>
            <a:solidFill>
              <a:srgbClr val="83A343"/>
            </a:solidFill>
            <a:effectLst>
              <a:outerShdw blurRad="50800" dist="38100" dir="2700000" algn="tl" rotWithShape="0">
                <a:prstClr val="black">
                  <a:alpha val="66000"/>
                </a:prst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3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4" name="Rounded Rectangle 53"/>
            <p:cNvSpPr/>
            <p:nvPr/>
          </p:nvSpPr>
          <p:spPr>
            <a:xfrm>
              <a:off x="2454493" y="5719718"/>
              <a:ext cx="3193829" cy="384321"/>
            </a:xfrm>
            <a:prstGeom prst="roundRect">
              <a:avLst>
                <a:gd name="adj" fmla="val 36494"/>
              </a:avLst>
            </a:prstGeom>
            <a:solidFill>
              <a:srgbClr val="83A343"/>
            </a:solidFill>
            <a:effectLst>
              <a:outerShdw blurRad="50800" dist="38100" dir="2700000" algn="tl" rotWithShape="0">
                <a:prstClr val="black">
                  <a:alpha val="66000"/>
                </a:prst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3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5" name="Rounded Rectangle 54"/>
            <p:cNvSpPr/>
            <p:nvPr/>
          </p:nvSpPr>
          <p:spPr>
            <a:xfrm>
              <a:off x="5806113" y="5721675"/>
              <a:ext cx="2558875" cy="384321"/>
            </a:xfrm>
            <a:prstGeom prst="roundRect">
              <a:avLst>
                <a:gd name="adj" fmla="val 36494"/>
              </a:avLst>
            </a:prstGeom>
            <a:solidFill>
              <a:srgbClr val="83A343"/>
            </a:solidFill>
            <a:effectLst>
              <a:outerShdw blurRad="50800" dist="38100" dir="2700000" algn="tl" rotWithShape="0">
                <a:prstClr val="black">
                  <a:alpha val="66000"/>
                </a:prst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3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2493413" y="5277308"/>
              <a:ext cx="1442190" cy="43868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MX" sz="1000" b="1" dirty="0" smtClean="0">
                  <a:solidFill>
                    <a:srgbClr val="3E4D1F"/>
                  </a:solidFill>
                </a:rPr>
                <a:t>Aprendizaje Basado en Problemas (PBL)</a:t>
              </a:r>
              <a:endParaRPr lang="es-MX" sz="1000" b="1" dirty="0">
                <a:solidFill>
                  <a:srgbClr val="3E4D1F"/>
                </a:solidFill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066432" y="5277308"/>
              <a:ext cx="1581891" cy="438684"/>
            </a:xfrm>
            <a:prstGeom prst="rect">
              <a:avLst/>
            </a:prstGeom>
          </p:spPr>
          <p:txBody>
            <a:bodyPr wrap="square" rtlCol="0" anchor="ctr">
              <a:spAutoFit/>
            </a:bodyPr>
            <a:lstStyle/>
            <a:p>
              <a:pPr algn="ctr" fontAlgn="base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MX" sz="1000" b="1" dirty="0" smtClean="0">
                  <a:solidFill>
                    <a:srgbClr val="3E4D1F"/>
                  </a:solidFill>
                </a:rPr>
                <a:t>Aprendizaje Orientado a Proyectos (POL)</a:t>
              </a:r>
              <a:endParaRPr lang="es-MX" sz="1000" b="1" dirty="0">
                <a:solidFill>
                  <a:srgbClr val="3E4D1F"/>
                </a:solidFill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789548" y="5335030"/>
              <a:ext cx="1130692" cy="32324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MX" sz="1000" b="1" dirty="0" smtClean="0">
                  <a:solidFill>
                    <a:srgbClr val="3E4D1F"/>
                  </a:solidFill>
                </a:rPr>
                <a:t>Aprendizaje Colaborativo</a:t>
              </a:r>
              <a:endParaRPr lang="es-MX" sz="1000" b="1" dirty="0">
                <a:solidFill>
                  <a:srgbClr val="3E4D1F"/>
                </a:solidFill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7034611" y="5335030"/>
              <a:ext cx="1264429" cy="32324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MX" sz="1000" b="1" dirty="0" smtClean="0">
                  <a:solidFill>
                    <a:srgbClr val="3E4D1F"/>
                  </a:solidFill>
                </a:rPr>
                <a:t>Método de Casos</a:t>
              </a:r>
              <a:endParaRPr lang="es-MX" sz="1000" b="1" dirty="0">
                <a:solidFill>
                  <a:srgbClr val="3E4D1F"/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2614292" y="5805190"/>
              <a:ext cx="2874228" cy="2609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MX" sz="1400" b="1" dirty="0" smtClean="0">
                  <a:solidFill>
                    <a:srgbClr val="3E4D1F"/>
                  </a:solidFill>
                </a:rPr>
                <a:t>Actividades Individuales</a:t>
              </a:r>
              <a:endParaRPr lang="es-MX" sz="1400" b="1" dirty="0">
                <a:solidFill>
                  <a:srgbClr val="3E4D1F"/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5758430" y="5805190"/>
              <a:ext cx="2654242" cy="2609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MX" sz="1400" b="1" dirty="0" smtClean="0">
                  <a:solidFill>
                    <a:srgbClr val="3E4D1F"/>
                  </a:solidFill>
                </a:rPr>
                <a:t>Actividades Colaborativas</a:t>
              </a:r>
              <a:endParaRPr lang="es-MX" sz="1400" b="1" dirty="0">
                <a:solidFill>
                  <a:srgbClr val="3E4D1F"/>
                </a:solidFill>
              </a:endParaRPr>
            </a:p>
          </p:txBody>
        </p:sp>
        <p:sp>
          <p:nvSpPr>
            <p:cNvPr id="136" name="TextBox 135"/>
            <p:cNvSpPr txBox="1"/>
            <p:nvPr/>
          </p:nvSpPr>
          <p:spPr>
            <a:xfrm>
              <a:off x="8531918" y="5502483"/>
              <a:ext cx="1497015" cy="403731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fontAlgn="base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s-MX" sz="1400" b="1" dirty="0" smtClean="0">
                  <a:solidFill>
                    <a:srgbClr val="3E4D1F"/>
                  </a:solidFill>
                </a:rPr>
                <a:t>Recursos de Aprendizaje</a:t>
              </a:r>
              <a:endParaRPr lang="es-MX" sz="1400" b="1" dirty="0">
                <a:solidFill>
                  <a:srgbClr val="3E4D1F"/>
                </a:solidFill>
              </a:endParaRPr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60337" y="76200"/>
            <a:ext cx="7993063" cy="498598"/>
          </a:xfrm>
        </p:spPr>
        <p:txBody>
          <a:bodyPr/>
          <a:lstStyle/>
          <a:p>
            <a:r>
              <a:rPr lang="es-MX" sz="3600" dirty="0"/>
              <a:t>M</a:t>
            </a:r>
            <a:r>
              <a:rPr lang="es-MX" sz="3600" dirty="0" smtClean="0"/>
              <a:t>odelo educativo</a:t>
            </a:r>
            <a:endParaRPr lang="es-MX" sz="3600" dirty="0"/>
          </a:p>
        </p:txBody>
      </p:sp>
      <p:sp>
        <p:nvSpPr>
          <p:cNvPr id="4" name="TextBox 3"/>
          <p:cNvSpPr txBox="1"/>
          <p:nvPr/>
        </p:nvSpPr>
        <p:spPr>
          <a:xfrm>
            <a:off x="10786" y="2689756"/>
            <a:ext cx="105601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MX" sz="1400" b="1" dirty="0" smtClean="0"/>
              <a:t>Modelo Educativo</a:t>
            </a:r>
            <a:endParaRPr lang="es-MX" sz="1400" b="1" dirty="0"/>
          </a:p>
        </p:txBody>
      </p:sp>
      <p:sp>
        <p:nvSpPr>
          <p:cNvPr id="178" name="TextBox 177"/>
          <p:cNvSpPr txBox="1"/>
          <p:nvPr/>
        </p:nvSpPr>
        <p:spPr>
          <a:xfrm>
            <a:off x="71750" y="874861"/>
            <a:ext cx="595035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s-MX" sz="1800" b="1" dirty="0" smtClean="0"/>
              <a:t>TICs</a:t>
            </a:r>
            <a:endParaRPr lang="es-MX" sz="1800" b="1" dirty="0"/>
          </a:p>
        </p:txBody>
      </p:sp>
      <p:sp>
        <p:nvSpPr>
          <p:cNvPr id="179" name="TextBox 178"/>
          <p:cNvSpPr txBox="1"/>
          <p:nvPr/>
        </p:nvSpPr>
        <p:spPr>
          <a:xfrm>
            <a:off x="287775" y="6165304"/>
            <a:ext cx="595035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s-MX" sz="1800" b="1" dirty="0" smtClean="0"/>
              <a:t>TICs</a:t>
            </a:r>
            <a:endParaRPr lang="es-MX" sz="1800" b="1" dirty="0"/>
          </a:p>
        </p:txBody>
      </p:sp>
      <p:sp>
        <p:nvSpPr>
          <p:cNvPr id="180" name="TextBox 179"/>
          <p:cNvSpPr txBox="1"/>
          <p:nvPr/>
        </p:nvSpPr>
        <p:spPr>
          <a:xfrm>
            <a:off x="-40524" y="5229200"/>
            <a:ext cx="101212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 smtClean="0"/>
              <a:t>Estrategias de enseñanza-aprendizaje</a:t>
            </a:r>
            <a:endParaRPr lang="es-MX" sz="1200" b="1" dirty="0"/>
          </a:p>
        </p:txBody>
      </p:sp>
      <p:cxnSp>
        <p:nvCxnSpPr>
          <p:cNvPr id="6" name="Straight Arrow Connector 5"/>
          <p:cNvCxnSpPr/>
          <p:nvPr/>
        </p:nvCxnSpPr>
        <p:spPr bwMode="auto">
          <a:xfrm>
            <a:off x="957186" y="1059527"/>
            <a:ext cx="30244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82" name="Straight Arrow Connector 181"/>
          <p:cNvCxnSpPr/>
          <p:nvPr/>
        </p:nvCxnSpPr>
        <p:spPr bwMode="auto">
          <a:xfrm>
            <a:off x="971600" y="2996952"/>
            <a:ext cx="30244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83" name="Straight Arrow Connector 182"/>
          <p:cNvCxnSpPr/>
          <p:nvPr/>
        </p:nvCxnSpPr>
        <p:spPr bwMode="auto">
          <a:xfrm>
            <a:off x="986014" y="5589240"/>
            <a:ext cx="30244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84" name="Straight Arrow Connector 183"/>
          <p:cNvCxnSpPr/>
          <p:nvPr/>
        </p:nvCxnSpPr>
        <p:spPr bwMode="auto">
          <a:xfrm>
            <a:off x="1000428" y="6347409"/>
            <a:ext cx="30244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92" name="Straight Connector 191"/>
          <p:cNvCxnSpPr/>
          <p:nvPr/>
        </p:nvCxnSpPr>
        <p:spPr bwMode="auto">
          <a:xfrm>
            <a:off x="2846848" y="1052736"/>
            <a:ext cx="0" cy="251142"/>
          </a:xfrm>
          <a:prstGeom prst="line">
            <a:avLst/>
          </a:prstGeom>
          <a:noFill/>
          <a:ln w="38100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3" name="Straight Connector 192"/>
          <p:cNvCxnSpPr/>
          <p:nvPr/>
        </p:nvCxnSpPr>
        <p:spPr bwMode="auto">
          <a:xfrm>
            <a:off x="5264644" y="1124744"/>
            <a:ext cx="0" cy="251142"/>
          </a:xfrm>
          <a:prstGeom prst="line">
            <a:avLst/>
          </a:prstGeom>
          <a:noFill/>
          <a:ln w="38100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4" name="Straight Connector 193"/>
          <p:cNvCxnSpPr/>
          <p:nvPr/>
        </p:nvCxnSpPr>
        <p:spPr bwMode="auto">
          <a:xfrm>
            <a:off x="6504786" y="1196752"/>
            <a:ext cx="0" cy="126594"/>
          </a:xfrm>
          <a:prstGeom prst="line">
            <a:avLst/>
          </a:prstGeom>
          <a:noFill/>
          <a:ln w="38100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1" name="Rounded Rectangle 180"/>
          <p:cNvSpPr/>
          <p:nvPr/>
        </p:nvSpPr>
        <p:spPr bwMode="auto">
          <a:xfrm>
            <a:off x="2448272" y="718331"/>
            <a:ext cx="755576" cy="48243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Recursos multimedia</a:t>
            </a:r>
          </a:p>
        </p:txBody>
      </p:sp>
      <p:sp>
        <p:nvSpPr>
          <p:cNvPr id="185" name="Rounded Rectangle 184"/>
          <p:cNvSpPr/>
          <p:nvPr/>
        </p:nvSpPr>
        <p:spPr bwMode="auto">
          <a:xfrm>
            <a:off x="3556626" y="718331"/>
            <a:ext cx="943366" cy="48243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Conferencias y Congresos</a:t>
            </a:r>
          </a:p>
        </p:txBody>
      </p:sp>
      <p:sp>
        <p:nvSpPr>
          <p:cNvPr id="187" name="Rounded Rectangle 186"/>
          <p:cNvSpPr/>
          <p:nvPr/>
        </p:nvSpPr>
        <p:spPr bwMode="auto">
          <a:xfrm>
            <a:off x="4805161" y="718331"/>
            <a:ext cx="918967" cy="48243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Comunidades de aprendizaje</a:t>
            </a:r>
          </a:p>
        </p:txBody>
      </p:sp>
      <p:sp>
        <p:nvSpPr>
          <p:cNvPr id="190" name="Rounded Rectangle 189"/>
          <p:cNvSpPr/>
          <p:nvPr/>
        </p:nvSpPr>
        <p:spPr bwMode="auto">
          <a:xfrm>
            <a:off x="6084168" y="718331"/>
            <a:ext cx="841237" cy="48243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900" dirty="0" smtClean="0">
                <a:solidFill>
                  <a:schemeClr val="tx1"/>
                </a:solidFill>
              </a:rPr>
              <a:t>Laboratorios aplicados</a:t>
            </a:r>
            <a:endParaRPr kumimoji="0" lang="es-MX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76" name="Round Same Side Corner Rectangle 175"/>
          <p:cNvSpPr/>
          <p:nvPr/>
        </p:nvSpPr>
        <p:spPr bwMode="auto">
          <a:xfrm rot="10800000">
            <a:off x="3305104" y="1302644"/>
            <a:ext cx="2956923" cy="338474"/>
          </a:xfrm>
          <a:prstGeom prst="round2SameRect">
            <a:avLst>
              <a:gd name="adj1" fmla="val 35265"/>
              <a:gd name="adj2" fmla="val 0"/>
            </a:avLst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6782" tIns="38391" rIns="76782" bIns="38391"/>
          <a:lstStyle/>
          <a:p>
            <a:pPr>
              <a:defRPr/>
            </a:pPr>
            <a:endParaRPr lang="es-MX">
              <a:solidFill>
                <a:prstClr val="black"/>
              </a:solidFill>
            </a:endParaRPr>
          </a:p>
        </p:txBody>
      </p:sp>
      <p:sp>
        <p:nvSpPr>
          <p:cNvPr id="177" name="TextBox 176"/>
          <p:cNvSpPr txBox="1"/>
          <p:nvPr/>
        </p:nvSpPr>
        <p:spPr>
          <a:xfrm>
            <a:off x="3724937" y="1302644"/>
            <a:ext cx="2043914" cy="27758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6782" tIns="38391" rIns="76782" bIns="38391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3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nología Educativa</a:t>
            </a:r>
            <a:endParaRPr lang="es-MX" sz="1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95" name="Picture 1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40365" y="1752600"/>
            <a:ext cx="5727979" cy="3131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6" name="Rectangle 195"/>
          <p:cNvSpPr/>
          <p:nvPr/>
        </p:nvSpPr>
        <p:spPr bwMode="auto">
          <a:xfrm rot="5400000">
            <a:off x="2407453" y="1104261"/>
            <a:ext cx="532717" cy="1956520"/>
          </a:xfrm>
          <a:prstGeom prst="rect">
            <a:avLst/>
          </a:prstGeom>
          <a:solidFill>
            <a:srgbClr val="C8A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6782" tIns="38391" rIns="76782" bIns="38391"/>
          <a:lstStyle/>
          <a:p>
            <a:pPr>
              <a:defRPr/>
            </a:pPr>
            <a:endParaRPr lang="es-MX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07704" y="2071881"/>
            <a:ext cx="17273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 smtClean="0">
                <a:effectLst>
                  <a:glow rad="228600">
                    <a:schemeClr val="bg2">
                      <a:lumMod val="85000"/>
                      <a:lumOff val="15000"/>
                      <a:alpha val="40000"/>
                    </a:schemeClr>
                  </a:glow>
                </a:effectLst>
              </a:rPr>
              <a:t>Plataforma Educativa</a:t>
            </a:r>
            <a:endParaRPr lang="es-MX" sz="1400" dirty="0">
              <a:effectLst>
                <a:glow rad="228600">
                  <a:schemeClr val="bg2">
                    <a:lumMod val="85000"/>
                    <a:lumOff val="15000"/>
                    <a:alpha val="40000"/>
                  </a:schemeClr>
                </a:glow>
              </a:effectLst>
            </a:endParaRPr>
          </a:p>
        </p:txBody>
      </p:sp>
      <p:sp>
        <p:nvSpPr>
          <p:cNvPr id="199" name="Rectangle 198"/>
          <p:cNvSpPr/>
          <p:nvPr/>
        </p:nvSpPr>
        <p:spPr bwMode="auto">
          <a:xfrm rot="5400000">
            <a:off x="6354471" y="2447990"/>
            <a:ext cx="1130454" cy="1695666"/>
          </a:xfrm>
          <a:prstGeom prst="rect">
            <a:avLst/>
          </a:prstGeom>
          <a:solidFill>
            <a:srgbClr val="C8A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6782" tIns="38391" rIns="76782" bIns="38391"/>
          <a:lstStyle/>
          <a:p>
            <a:pPr>
              <a:defRPr/>
            </a:pPr>
            <a:endParaRPr lang="es-MX">
              <a:solidFill>
                <a:prstClr val="black"/>
              </a:solidFill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6152047" y="2938762"/>
            <a:ext cx="1673243" cy="307777"/>
          </a:xfrm>
          <a:prstGeom prst="rect">
            <a:avLst/>
          </a:prstGeom>
          <a:solidFill>
            <a:srgbClr val="C8A200"/>
          </a:solidFill>
        </p:spPr>
        <p:txBody>
          <a:bodyPr wrap="square" rtlCol="0">
            <a:spAutoFit/>
          </a:bodyPr>
          <a:lstStyle/>
          <a:p>
            <a:r>
              <a:rPr lang="es-MX" sz="1400" dirty="0" smtClean="0">
                <a:effectLst>
                  <a:glow rad="228600">
                    <a:schemeClr val="bg2">
                      <a:lumMod val="85000"/>
                      <a:lumOff val="15000"/>
                      <a:alpha val="40000"/>
                    </a:schemeClr>
                  </a:glow>
                </a:effectLst>
              </a:rPr>
              <a:t>Tutores y expertos</a:t>
            </a:r>
            <a:endParaRPr lang="es-MX" sz="1400" dirty="0">
              <a:effectLst>
                <a:glow rad="228600">
                  <a:schemeClr val="bg2">
                    <a:lumMod val="85000"/>
                    <a:lumOff val="15000"/>
                    <a:alpha val="40000"/>
                  </a:schemeClr>
                </a:glow>
              </a:effectLst>
            </a:endParaRPr>
          </a:p>
        </p:txBody>
      </p:sp>
      <p:pic>
        <p:nvPicPr>
          <p:cNvPr id="198" name="Picture 5" descr="E:\UV-L00534529\Laboral\En proceso\UV\PLP\Consejo\prof_titMad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2047" y="3303512"/>
            <a:ext cx="580193" cy="60686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00" name="Picture 199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6852" y="3303512"/>
            <a:ext cx="525025" cy="647850"/>
          </a:xfrm>
          <a:prstGeom prst="ellipse">
            <a:avLst/>
          </a:prstGeom>
          <a:ln>
            <a:noFill/>
          </a:ln>
          <a:effectLst/>
        </p:spPr>
      </p:pic>
      <p:sp>
        <p:nvSpPr>
          <p:cNvPr id="201" name="TextBox 200"/>
          <p:cNvSpPr txBox="1"/>
          <p:nvPr/>
        </p:nvSpPr>
        <p:spPr>
          <a:xfrm>
            <a:off x="2555775" y="3951362"/>
            <a:ext cx="1169161" cy="307777"/>
          </a:xfrm>
          <a:prstGeom prst="rect">
            <a:avLst/>
          </a:prstGeom>
          <a:solidFill>
            <a:srgbClr val="C8A200"/>
          </a:solidFill>
        </p:spPr>
        <p:txBody>
          <a:bodyPr wrap="square" rtlCol="0">
            <a:spAutoFit/>
          </a:bodyPr>
          <a:lstStyle/>
          <a:p>
            <a:r>
              <a:rPr lang="es-MX" sz="1400" dirty="0" smtClean="0">
                <a:effectLst>
                  <a:glow rad="228600">
                    <a:schemeClr val="bg2">
                      <a:lumMod val="85000"/>
                      <a:lumOff val="15000"/>
                      <a:alpha val="40000"/>
                    </a:schemeClr>
                  </a:glow>
                </a:effectLst>
              </a:rPr>
              <a:t>Practicantes </a:t>
            </a:r>
            <a:endParaRPr lang="es-MX" sz="1400" dirty="0">
              <a:effectLst>
                <a:glow rad="228600">
                  <a:schemeClr val="bg2">
                    <a:lumMod val="85000"/>
                    <a:lumOff val="15000"/>
                    <a:alpha val="40000"/>
                  </a:schemeClr>
                </a:glow>
              </a:effectLst>
            </a:endParaRPr>
          </a:p>
        </p:txBody>
      </p:sp>
      <p:sp>
        <p:nvSpPr>
          <p:cNvPr id="2" name="Rounded Rectangle 1"/>
          <p:cNvSpPr/>
          <p:nvPr/>
        </p:nvSpPr>
        <p:spPr bwMode="auto">
          <a:xfrm>
            <a:off x="3652072" y="2871161"/>
            <a:ext cx="1021026" cy="457200"/>
          </a:xfrm>
          <a:prstGeom prst="round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ts val="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MX" sz="1200" b="1" dirty="0" smtClean="0">
                <a:solidFill>
                  <a:schemeClr val="bg1"/>
                </a:solidFill>
              </a:rPr>
              <a:t>Interacción de los </a:t>
            </a:r>
          </a:p>
          <a:p>
            <a:pPr marL="0" marR="0" indent="0" algn="ctr" defTabSz="914400" rtl="0" eaLnBrk="0" fontAlgn="base" latinLnBrk="0" hangingPunct="0">
              <a:lnSpc>
                <a:spcPts val="8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Participantes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577809" y="4509120"/>
            <a:ext cx="1992526" cy="461665"/>
          </a:xfrm>
          <a:prstGeom prst="rect">
            <a:avLst/>
          </a:prstGeom>
          <a:solidFill>
            <a:srgbClr val="C8A200"/>
          </a:solidFill>
        </p:spPr>
        <p:txBody>
          <a:bodyPr wrap="square" rtlCol="0">
            <a:spAutoFit/>
          </a:bodyPr>
          <a:lstStyle/>
          <a:p>
            <a:r>
              <a:rPr lang="es-MX" sz="1200" dirty="0" smtClean="0">
                <a:effectLst>
                  <a:glow rad="228600">
                    <a:schemeClr val="bg2">
                      <a:lumMod val="85000"/>
                      <a:lumOff val="15000"/>
                      <a:alpha val="40000"/>
                    </a:schemeClr>
                  </a:glow>
                </a:effectLst>
              </a:rPr>
              <a:t>Grupos de discusión y comunidades de aprendizaje</a:t>
            </a:r>
            <a:endParaRPr lang="es-MX" sz="1200" dirty="0">
              <a:effectLst>
                <a:glow rad="228600">
                  <a:schemeClr val="bg2">
                    <a:lumMod val="85000"/>
                    <a:lumOff val="15000"/>
                    <a:alpha val="40000"/>
                  </a:schemeClr>
                </a:glow>
              </a:effectLst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508104" y="1743199"/>
            <a:ext cx="2061504" cy="461665"/>
          </a:xfrm>
          <a:prstGeom prst="rect">
            <a:avLst/>
          </a:prstGeom>
          <a:solidFill>
            <a:srgbClr val="C8A2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1200" dirty="0" smtClean="0">
                <a:effectLst>
                  <a:glow rad="228600">
                    <a:schemeClr val="bg2">
                      <a:lumMod val="85000"/>
                      <a:lumOff val="15000"/>
                      <a:alpha val="40000"/>
                    </a:schemeClr>
                  </a:glow>
                </a:effectLst>
              </a:rPr>
              <a:t>Estrategias de enseñanza-aprendizaje</a:t>
            </a:r>
            <a:endParaRPr lang="es-MX" sz="1200" dirty="0">
              <a:effectLst>
                <a:glow rad="228600">
                  <a:schemeClr val="bg2">
                    <a:lumMod val="85000"/>
                    <a:lumOff val="15000"/>
                    <a:alpha val="40000"/>
                  </a:schemeClr>
                </a:glow>
              </a:effectLst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635896" y="1700808"/>
            <a:ext cx="1604894" cy="276999"/>
          </a:xfrm>
          <a:prstGeom prst="rect">
            <a:avLst/>
          </a:prstGeom>
          <a:solidFill>
            <a:srgbClr val="C8A2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1200" dirty="0" smtClean="0">
                <a:effectLst>
                  <a:glow rad="228600">
                    <a:schemeClr val="bg2">
                      <a:lumMod val="85000"/>
                      <a:lumOff val="15000"/>
                      <a:alpha val="40000"/>
                    </a:schemeClr>
                  </a:glow>
                </a:effectLst>
              </a:rPr>
              <a:t>Contenidos</a:t>
            </a:r>
            <a:endParaRPr lang="es-MX" sz="1200" dirty="0">
              <a:effectLst>
                <a:glow rad="228600">
                  <a:schemeClr val="bg2">
                    <a:lumMod val="85000"/>
                    <a:lumOff val="15000"/>
                    <a:alpha val="40000"/>
                  </a:schemeClr>
                </a:glow>
              </a:effectLst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696953" y="3121223"/>
            <a:ext cx="1604894" cy="307777"/>
          </a:xfrm>
          <a:prstGeom prst="rect">
            <a:avLst/>
          </a:prstGeom>
          <a:solidFill>
            <a:srgbClr val="C8A2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1400" dirty="0" smtClean="0">
                <a:effectLst>
                  <a:glow rad="228600">
                    <a:schemeClr val="bg2">
                      <a:lumMod val="85000"/>
                      <a:lumOff val="15000"/>
                      <a:alpha val="40000"/>
                    </a:schemeClr>
                  </a:glow>
                </a:effectLst>
              </a:rPr>
              <a:t>Sistema Educativo</a:t>
            </a:r>
            <a:endParaRPr lang="es-MX" sz="1400" dirty="0">
              <a:effectLst>
                <a:glow rad="228600">
                  <a:schemeClr val="bg2">
                    <a:lumMod val="85000"/>
                    <a:lumOff val="15000"/>
                    <a:alpha val="40000"/>
                  </a:schemeClr>
                </a:glow>
              </a:effectLst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4355976" y="4581128"/>
            <a:ext cx="1297418" cy="461665"/>
          </a:xfrm>
          <a:prstGeom prst="rect">
            <a:avLst/>
          </a:prstGeom>
          <a:solidFill>
            <a:srgbClr val="C8A2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1200" dirty="0" smtClean="0">
                <a:effectLst>
                  <a:glow rad="228600">
                    <a:schemeClr val="bg2">
                      <a:lumMod val="85000"/>
                      <a:lumOff val="15000"/>
                      <a:alpha val="40000"/>
                    </a:schemeClr>
                  </a:glow>
                </a:effectLst>
              </a:rPr>
              <a:t>Base de datos especializada</a:t>
            </a:r>
            <a:endParaRPr lang="es-MX" sz="1200" dirty="0">
              <a:effectLst>
                <a:glow rad="228600">
                  <a:schemeClr val="bg2">
                    <a:lumMod val="85000"/>
                    <a:lumOff val="15000"/>
                    <a:alpha val="40000"/>
                  </a:schemeClr>
                </a:glow>
              </a:effectLst>
            </a:endParaRPr>
          </a:p>
        </p:txBody>
      </p:sp>
      <p:sp>
        <p:nvSpPr>
          <p:cNvPr id="6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DB09C58B-9000-45E6-ADB6-316584364E20}" type="slidenum">
              <a:rPr lang="es-MX" smtClean="0"/>
              <a:t>4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56016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mv="urn:schemas-microsoft-com:mac:vml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7" descr="esquema-tutore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88971" y="2133600"/>
            <a:ext cx="8274029" cy="3352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997196"/>
          </a:xfrm>
        </p:spPr>
        <p:txBody>
          <a:bodyPr/>
          <a:lstStyle/>
          <a:p>
            <a:r>
              <a:rPr lang="es-MX" sz="4000" dirty="0"/>
              <a:t>Elementos básicos del modelo educativo </a:t>
            </a:r>
            <a:r>
              <a:rPr lang="es-MX" sz="4400" dirty="0" smtClean="0"/>
              <a:t/>
            </a:r>
            <a:br>
              <a:rPr lang="es-MX" sz="4400" dirty="0" smtClean="0"/>
            </a:br>
            <a:r>
              <a:rPr lang="es-MX" sz="3200" dirty="0" smtClean="0"/>
              <a:t>Estructura operativa</a:t>
            </a:r>
            <a:endParaRPr lang="es-MX" sz="4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5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65229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381000" y="1752600"/>
            <a:ext cx="8382000" cy="3453253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s-MX" sz="2800" b="1" dirty="0" smtClean="0"/>
              <a:t>Son especialistas en el tema que asesoran y cuentan con estudios de posgrado.</a:t>
            </a:r>
          </a:p>
          <a:p>
            <a:pPr>
              <a:buFont typeface="Arial" pitchFamily="34" charset="0"/>
              <a:buChar char="•"/>
            </a:pPr>
            <a:r>
              <a:rPr lang="es-MX" sz="2800" b="1" dirty="0" smtClean="0"/>
              <a:t>Se evalúan durante el diplomado y al término del mismo.</a:t>
            </a:r>
          </a:p>
          <a:p>
            <a:pPr lvl="0">
              <a:buFont typeface="Arial" pitchFamily="34" charset="0"/>
              <a:buChar char="•"/>
            </a:pPr>
            <a:r>
              <a:rPr lang="es-ES_tradnl" sz="2800" b="1" dirty="0" smtClean="0"/>
              <a:t>Para realizar la recontratación del tutor se considerará:</a:t>
            </a:r>
            <a:endParaRPr lang="es-MX" sz="2800" b="1" dirty="0" smtClean="0"/>
          </a:p>
          <a:p>
            <a:pPr lvl="1">
              <a:buFont typeface="Arial" pitchFamily="34" charset="0"/>
              <a:buChar char="•"/>
            </a:pPr>
            <a:r>
              <a:rPr lang="es-ES_tradnl" sz="2000" b="1" dirty="0" smtClean="0"/>
              <a:t>Evaluación de los participantes.</a:t>
            </a:r>
            <a:endParaRPr lang="es-MX" sz="2000" b="1" dirty="0" smtClean="0"/>
          </a:p>
          <a:p>
            <a:pPr lvl="1">
              <a:buFont typeface="Arial" pitchFamily="34" charset="0"/>
              <a:buChar char="•"/>
            </a:pPr>
            <a:r>
              <a:rPr lang="es-ES_tradnl" sz="2000" b="1" dirty="0" smtClean="0"/>
              <a:t>Evaluación del coordinador de tutores, con base en el reporte de desempeño.</a:t>
            </a:r>
            <a:endParaRPr lang="es-MX" sz="20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997196"/>
          </a:xfrm>
        </p:spPr>
        <p:txBody>
          <a:bodyPr/>
          <a:lstStyle/>
          <a:p>
            <a:r>
              <a:rPr lang="es-MX" sz="4000" dirty="0"/>
              <a:t>Elementos básicos del modelo educativo </a:t>
            </a:r>
            <a:r>
              <a:rPr lang="es-MX" sz="4400" dirty="0"/>
              <a:t/>
            </a:r>
            <a:br>
              <a:rPr lang="es-MX" sz="4400" dirty="0"/>
            </a:br>
            <a:r>
              <a:rPr lang="es-MX" sz="3200" dirty="0"/>
              <a:t>A</a:t>
            </a:r>
            <a:r>
              <a:rPr lang="es-MX" sz="3200" dirty="0" smtClean="0"/>
              <a:t>lta calidad de tutores</a:t>
            </a:r>
            <a:endParaRPr lang="es-MX" sz="4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FACBA2-1E2A-4E25-98C0-83EDC1667BFB}" type="slidenum">
              <a:rPr lang="es-MX" smtClean="0"/>
              <a:t>6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4240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Características diferenciadoras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412875"/>
            <a:ext cx="8382000" cy="3834896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s-MX" sz="2800" dirty="0" smtClean="0"/>
              <a:t>Contenidos actualizados con alta orientación práctica.</a:t>
            </a:r>
          </a:p>
          <a:p>
            <a:pPr>
              <a:buFont typeface="Arial" pitchFamily="34" charset="0"/>
              <a:buChar char="•"/>
            </a:pPr>
            <a:r>
              <a:rPr lang="es-MX" sz="2800" dirty="0" smtClean="0"/>
              <a:t>Amplia oferta educativa y de capacitación para diversos grupos sociales y profesionales.</a:t>
            </a:r>
          </a:p>
          <a:p>
            <a:pPr>
              <a:buFont typeface="Arial" pitchFamily="34" charset="0"/>
              <a:buChar char="•"/>
            </a:pPr>
            <a:r>
              <a:rPr lang="es-MX" sz="2800" dirty="0" smtClean="0"/>
              <a:t>Modelo educativo con alta eficiencia terminal. </a:t>
            </a:r>
          </a:p>
          <a:p>
            <a:pPr>
              <a:buFont typeface="Arial" pitchFamily="34" charset="0"/>
              <a:buChar char="•"/>
            </a:pPr>
            <a:r>
              <a:rPr lang="es-MX" sz="2800" dirty="0" smtClean="0"/>
              <a:t>Tutores con amplia experiencia en las diferentes áreas de especialidad.</a:t>
            </a:r>
          </a:p>
          <a:p>
            <a:pPr>
              <a:buFont typeface="Arial" pitchFamily="34" charset="0"/>
              <a:buChar char="•"/>
            </a:pPr>
            <a:r>
              <a:rPr lang="es-MX" sz="2800" dirty="0" smtClean="0"/>
              <a:t>Comunidades </a:t>
            </a:r>
            <a:r>
              <a:rPr lang="es-MX" sz="2800" dirty="0"/>
              <a:t>de aprendizaje sin costo y con información útil y novedosa, con </a:t>
            </a:r>
            <a:r>
              <a:rPr lang="es-MX" sz="2800" dirty="0" smtClean="0"/>
              <a:t>mas </a:t>
            </a:r>
            <a:r>
              <a:rPr lang="es-MX" sz="2800" dirty="0"/>
              <a:t>de 1 millón de </a:t>
            </a:r>
            <a:r>
              <a:rPr lang="es-MX" sz="2800" dirty="0" smtClean="0"/>
              <a:t>visita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7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1473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Características diferenciadoras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412875"/>
            <a:ext cx="8382000" cy="3921073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s-MX" sz="2800" dirty="0"/>
              <a:t>Certificaciones de alto reconocimiento como CONOCER (SEP) y Universidad de Cambridge.</a:t>
            </a:r>
          </a:p>
          <a:p>
            <a:pPr>
              <a:buFont typeface="Arial" pitchFamily="34" charset="0"/>
              <a:buChar char="•"/>
            </a:pPr>
            <a:r>
              <a:rPr lang="es-MX" sz="2800" dirty="0" smtClean="0"/>
              <a:t>Costo </a:t>
            </a:r>
            <a:r>
              <a:rPr lang="es-MX" sz="2800" dirty="0"/>
              <a:t>accesible y diferentes esquemas de becas. </a:t>
            </a:r>
          </a:p>
          <a:p>
            <a:pPr>
              <a:buFont typeface="Arial" pitchFamily="34" charset="0"/>
              <a:buChar char="•"/>
            </a:pPr>
            <a:r>
              <a:rPr lang="es-MX" sz="2800" dirty="0"/>
              <a:t>Diplomados y cursos 100% en línea. </a:t>
            </a:r>
          </a:p>
          <a:p>
            <a:pPr>
              <a:buFont typeface="Arial" pitchFamily="34" charset="0"/>
              <a:buChar char="•"/>
            </a:pPr>
            <a:r>
              <a:rPr lang="es-MX" sz="2800" dirty="0" smtClean="0"/>
              <a:t>Socios y aliados que respaldan labor realizada: ONU</a:t>
            </a:r>
            <a:r>
              <a:rPr lang="es-MX" sz="2800" dirty="0"/>
              <a:t>, OECD, OEA, WBI, Microsoft, </a:t>
            </a:r>
            <a:r>
              <a:rPr lang="es-MX" sz="2800" dirty="0" err="1" smtClean="0"/>
              <a:t>Ashoka</a:t>
            </a:r>
            <a:r>
              <a:rPr lang="es-MX" sz="2800" dirty="0" smtClean="0"/>
              <a:t>, </a:t>
            </a:r>
            <a:r>
              <a:rPr lang="es-MX" sz="2800" dirty="0" err="1" smtClean="0"/>
              <a:t>RedAmérica</a:t>
            </a:r>
            <a:r>
              <a:rPr lang="es-MX" sz="2800" dirty="0" smtClean="0"/>
              <a:t>, entre otros.</a:t>
            </a:r>
          </a:p>
          <a:p>
            <a:pPr>
              <a:buFont typeface="Arial" pitchFamily="34" charset="0"/>
              <a:buChar char="•"/>
            </a:pPr>
            <a:r>
              <a:rPr lang="es-MX" sz="2800" dirty="0" smtClean="0"/>
              <a:t>Experiencias exitosas en México y América Latina.</a:t>
            </a:r>
          </a:p>
          <a:p>
            <a:pPr marL="0" indent="0">
              <a:buNone/>
            </a:pPr>
            <a:endParaRPr lang="es-MX" sz="28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8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0056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aracterísticas diferenciadora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233202"/>
            <a:ext cx="8382000" cy="443198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s-MX" dirty="0" smtClean="0"/>
              <a:t>Plataforma educativa dinámica (SABA)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9</a:t>
            </a:fld>
            <a:endParaRPr lang="es-MX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2400" y="1873804"/>
            <a:ext cx="4267200" cy="29834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152400" y="6019800"/>
            <a:ext cx="4953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dirty="0"/>
              <a:t>Liga de manuales y videos de SABA para ALUMNOS</a:t>
            </a:r>
          </a:p>
          <a:p>
            <a:r>
              <a:rPr lang="es-MX" u="sng" dirty="0">
                <a:hlinkClick r:id="rId4"/>
              </a:rPr>
              <a:t>http://www.cca.org.mx/ps/saba/recursos/</a:t>
            </a:r>
            <a:endParaRPr lang="es-MX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75317" y="3550204"/>
            <a:ext cx="6016283" cy="2240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16968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heme/theme1.xml><?xml version="1.0" encoding="utf-8"?>
<a:theme xmlns:a="http://schemas.openxmlformats.org/drawingml/2006/main" name="1_Dk Blue swoosh template Segoe">
  <a:themeElements>
    <a:clrScheme name="Blue Template-Template">
      <a:dk1>
        <a:srgbClr val="000000"/>
      </a:dk1>
      <a:lt1>
        <a:srgbClr val="FFFFFF"/>
      </a:lt1>
      <a:dk2>
        <a:srgbClr val="050595"/>
      </a:dk2>
      <a:lt2>
        <a:srgbClr val="FFFF99"/>
      </a:lt2>
      <a:accent1>
        <a:srgbClr val="FFC000"/>
      </a:accent1>
      <a:accent2>
        <a:srgbClr val="3497AE"/>
      </a:accent2>
      <a:accent3>
        <a:srgbClr val="DF8045"/>
      </a:accent3>
      <a:accent4>
        <a:srgbClr val="7DCC2E"/>
      </a:accent4>
      <a:accent5>
        <a:srgbClr val="FF9929"/>
      </a:accent5>
      <a:accent6>
        <a:srgbClr val="7D3DA1"/>
      </a:accent6>
      <a:hlink>
        <a:srgbClr val="F3EB4F"/>
      </a:hlink>
      <a:folHlink>
        <a:srgbClr val="7DDD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300" dirty="0" smtClean="0"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" pitchFamily="34" charset="0"/>
          </a:defRPr>
        </a:defPPr>
      </a:lstStyle>
      <a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White with Courier font for code slides">
  <a:themeElements>
    <a:clrScheme name="Blue Template-Template">
      <a:dk1>
        <a:srgbClr val="000000"/>
      </a:dk1>
      <a:lt1>
        <a:srgbClr val="FFFFFF"/>
      </a:lt1>
      <a:dk2>
        <a:srgbClr val="050595"/>
      </a:dk2>
      <a:lt2>
        <a:srgbClr val="FFFFFF"/>
      </a:lt2>
      <a:accent1>
        <a:srgbClr val="FFC000"/>
      </a:accent1>
      <a:accent2>
        <a:srgbClr val="3497AE"/>
      </a:accent2>
      <a:accent3>
        <a:srgbClr val="DF8045"/>
      </a:accent3>
      <a:accent4>
        <a:srgbClr val="7DCC2E"/>
      </a:accent4>
      <a:accent5>
        <a:srgbClr val="FF9929"/>
      </a:accent5>
      <a:accent6>
        <a:srgbClr val="7D3DA1"/>
      </a:accent6>
      <a:hlink>
        <a:srgbClr val="F3EB4F"/>
      </a:hlink>
      <a:folHlink>
        <a:srgbClr val="7DDD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109728" tIns="54864" rIns="109728" bIns="54864" numCol="1" rtlCol="0" anchor="ctr" anchorCtr="0" compatLnSpc="1">
        <a:prstTxWarp prst="textNoShape">
          <a:avLst/>
        </a:prstTxWarp>
      </a:bodyPr>
      <a:lstStyle>
        <a:defPPr marL="0" marR="0" indent="0" algn="ctr" defTabSz="10969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0" i="0" u="none" strike="noStrike" cap="none" normalizeH="0" baseline="0" dirty="0" smtClean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" pitchFamily="34" charset="0"/>
          </a:defRPr>
        </a:defPPr>
      </a:lstStyle>
      <a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62A43BD6-BB12-4855-A62A-BDADBADB09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_Dk Blue swoosh template Segoe</Template>
  <TotalTime>691</TotalTime>
  <Words>1580</Words>
  <Application>Microsoft Office PowerPoint</Application>
  <PresentationFormat>On-screen Show (4:3)</PresentationFormat>
  <Paragraphs>375</Paragraphs>
  <Slides>35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37" baseType="lpstr">
      <vt:lpstr>1_Dk Blue swoosh template Segoe</vt:lpstr>
      <vt:lpstr>White with Courier font for code slides</vt:lpstr>
      <vt:lpstr>Dirección de Educación para el Desarrollo</vt:lpstr>
      <vt:lpstr>Visión</vt:lpstr>
      <vt:lpstr>Productos y  servicios</vt:lpstr>
      <vt:lpstr>Modelo educativo</vt:lpstr>
      <vt:lpstr>Elementos básicos del modelo educativo  Estructura operativa</vt:lpstr>
      <vt:lpstr>Elementos básicos del modelo educativo  Alta calidad de tutores</vt:lpstr>
      <vt:lpstr>Características diferenciadoras</vt:lpstr>
      <vt:lpstr>Características diferenciadoras</vt:lpstr>
      <vt:lpstr>Características diferenciadoras</vt:lpstr>
      <vt:lpstr>Áreas de atención:</vt:lpstr>
      <vt:lpstr>Desarrollo de talento y certificaciones</vt:lpstr>
      <vt:lpstr>Ambientes virtuales de aprendizaje  (comunidades de aprendizaje)</vt:lpstr>
      <vt:lpstr>Ambientes virtuales de aprendizaje  (comunidades de aprendizaje)</vt:lpstr>
      <vt:lpstr>Ambientes virtuales de aprendizaje  (comunidades de aprendizaje)</vt:lpstr>
      <vt:lpstr>Ambientes virtuales de aprendizaje  (comunidades de aprendizaje)</vt:lpstr>
      <vt:lpstr>Ambientes virtuales de aprendizaje  (comunidades de aprendizaje)</vt:lpstr>
      <vt:lpstr>Investigación y Desarrollo de Modelos Educativos</vt:lpstr>
      <vt:lpstr>Soluciones de base tecnológica</vt:lpstr>
      <vt:lpstr>Consultoría</vt:lpstr>
      <vt:lpstr>Programa MuniAPP: Fortalecimiento de Municipios para el Desarrollo de Proyectos en Asociación Público - Privada</vt:lpstr>
      <vt:lpstr>Asistencia técnica y comunidad de colaboración y aprendizaje</vt:lpstr>
      <vt:lpstr>Responsabilidad Social Empresarial y PYMES</vt:lpstr>
      <vt:lpstr>www.integrapyme.com.mx</vt:lpstr>
      <vt:lpstr>Congresos, seminarios y webinars</vt:lpstr>
      <vt:lpstr>Colaboraciones estratégicas</vt:lpstr>
      <vt:lpstr>Colaboraciones estratégicas y publicaciones</vt:lpstr>
      <vt:lpstr>PowerPoint Presentation</vt:lpstr>
      <vt:lpstr>www.cca.org.mx</vt:lpstr>
      <vt:lpstr>Dirección de Educación para el Desarrollo  Cobertura geográfica acumulada por año</vt:lpstr>
      <vt:lpstr>Estadísticas  generales</vt:lpstr>
      <vt:lpstr>Información para comercialización de los diplomados y los cursos</vt:lpstr>
      <vt:lpstr>Oferta educativa:</vt:lpstr>
      <vt:lpstr>Oferta general</vt:lpstr>
      <vt:lpstr>Contacto para más información</vt:lpstr>
      <vt:lpstr>Contacto por área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rección de Educación para el Desarrollo</dc:title>
  <dc:creator>Laura Ruiz Pérez</dc:creator>
  <cp:lastModifiedBy>Sergio Alberto López León</cp:lastModifiedBy>
  <cp:revision>90</cp:revision>
  <dcterms:created xsi:type="dcterms:W3CDTF">2012-05-25T13:57:27Z</dcterms:created>
  <dcterms:modified xsi:type="dcterms:W3CDTF">2013-02-08T18:19:1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102867319990</vt:lpwstr>
  </property>
</Properties>
</file>